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3.xml" ContentType="application/vnd.openxmlformats-officedocument.theme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4.xml" ContentType="application/vnd.openxmlformats-officedocument.theme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5.xml" ContentType="application/vnd.openxmlformats-officedocument.them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99" r:id="rId4"/>
    <p:sldMasterId id="2147483759" r:id="rId5"/>
    <p:sldMasterId id="2147483862" r:id="rId6"/>
    <p:sldMasterId id="2147483891" r:id="rId7"/>
    <p:sldMasterId id="2147483903" r:id="rId8"/>
    <p:sldMasterId id="2147483936" r:id="rId9"/>
  </p:sldMasterIdLst>
  <p:notesMasterIdLst>
    <p:notesMasterId r:id="rId33"/>
  </p:notesMasterIdLst>
  <p:sldIdLst>
    <p:sldId id="2147469337" r:id="rId10"/>
    <p:sldId id="930" r:id="rId11"/>
    <p:sldId id="383" r:id="rId12"/>
    <p:sldId id="275" r:id="rId13"/>
    <p:sldId id="2147469204" r:id="rId14"/>
    <p:sldId id="2147469207" r:id="rId15"/>
    <p:sldId id="2147469338" r:id="rId16"/>
    <p:sldId id="2147469339" r:id="rId17"/>
    <p:sldId id="996" r:id="rId18"/>
    <p:sldId id="3000" r:id="rId19"/>
    <p:sldId id="256" r:id="rId20"/>
    <p:sldId id="2147469252" r:id="rId21"/>
    <p:sldId id="2147469218" r:id="rId22"/>
    <p:sldId id="2147469253" r:id="rId23"/>
    <p:sldId id="2147469234" r:id="rId24"/>
    <p:sldId id="2147469242" r:id="rId25"/>
    <p:sldId id="2147469256" r:id="rId26"/>
    <p:sldId id="3003" r:id="rId27"/>
    <p:sldId id="2147469257" r:id="rId28"/>
    <p:sldId id="2147469245" r:id="rId29"/>
    <p:sldId id="2147469250" r:id="rId30"/>
    <p:sldId id="2147469246" r:id="rId31"/>
    <p:sldId id="2623" r:id="rId32"/>
  </p:sldIdLst>
  <p:sldSz cx="12192000" cy="6858000"/>
  <p:notesSz cx="6858000" cy="9144000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chemeClr val="accent2"/>
        </a:solidFill>
        <a:effectLst/>
        <a:uFillTx/>
        <a:latin typeface="+mj-lt"/>
        <a:ea typeface="+mj-ea"/>
        <a:cs typeface="+mj-cs"/>
        <a:sym typeface="Helvetica"/>
      </a:defRPr>
    </a:lvl1pPr>
    <a:lvl2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chemeClr val="accent2"/>
        </a:solidFill>
        <a:effectLst/>
        <a:uFillTx/>
        <a:latin typeface="+mj-lt"/>
        <a:ea typeface="+mj-ea"/>
        <a:cs typeface="+mj-cs"/>
        <a:sym typeface="Helvetica"/>
      </a:defRPr>
    </a:lvl2pPr>
    <a:lvl3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chemeClr val="accent2"/>
        </a:solidFill>
        <a:effectLst/>
        <a:uFillTx/>
        <a:latin typeface="+mj-lt"/>
        <a:ea typeface="+mj-ea"/>
        <a:cs typeface="+mj-cs"/>
        <a:sym typeface="Helvetica"/>
      </a:defRPr>
    </a:lvl3pPr>
    <a:lvl4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chemeClr val="accent2"/>
        </a:solidFill>
        <a:effectLst/>
        <a:uFillTx/>
        <a:latin typeface="+mj-lt"/>
        <a:ea typeface="+mj-ea"/>
        <a:cs typeface="+mj-cs"/>
        <a:sym typeface="Helvetica"/>
      </a:defRPr>
    </a:lvl4pPr>
    <a:lvl5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chemeClr val="accent2"/>
        </a:solidFill>
        <a:effectLst/>
        <a:uFillTx/>
        <a:latin typeface="+mj-lt"/>
        <a:ea typeface="+mj-ea"/>
        <a:cs typeface="+mj-cs"/>
        <a:sym typeface="Helvetica"/>
      </a:defRPr>
    </a:lvl5pPr>
    <a:lvl6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chemeClr val="accent2"/>
        </a:solidFill>
        <a:effectLst/>
        <a:uFillTx/>
        <a:latin typeface="+mj-lt"/>
        <a:ea typeface="+mj-ea"/>
        <a:cs typeface="+mj-cs"/>
        <a:sym typeface="Helvetica"/>
      </a:defRPr>
    </a:lvl6pPr>
    <a:lvl7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chemeClr val="accent2"/>
        </a:solidFill>
        <a:effectLst/>
        <a:uFillTx/>
        <a:latin typeface="+mj-lt"/>
        <a:ea typeface="+mj-ea"/>
        <a:cs typeface="+mj-cs"/>
        <a:sym typeface="Helvetica"/>
      </a:defRPr>
    </a:lvl7pPr>
    <a:lvl8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chemeClr val="accent2"/>
        </a:solidFill>
        <a:effectLst/>
        <a:uFillTx/>
        <a:latin typeface="+mj-lt"/>
        <a:ea typeface="+mj-ea"/>
        <a:cs typeface="+mj-cs"/>
        <a:sym typeface="Helvetica"/>
      </a:defRPr>
    </a:lvl8pPr>
    <a:lvl9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chemeClr val="accent2"/>
        </a:solidFill>
        <a:effectLst/>
        <a:uFillTx/>
        <a:latin typeface="+mj-lt"/>
        <a:ea typeface="+mj-ea"/>
        <a:cs typeface="+mj-cs"/>
        <a:sym typeface="Helvetica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4C2AA2D-2BEA-A142-B53B-2743420C20C3}" name="Vereecken Tim" initials="TV" userId="S::tim.vereecken@vlaanderen.be::cf0131f3-d9dc-4d80-b5e2-8bee0ba4332b" providerId="AD"/>
  <p188:author id="{5189D330-504B-2FDF-A9D6-2565D61DD5DE}" name="Zwaenepoel Daan" initials="ZD" userId="S::daan.zwaenepoel@vlaanderen.be::906560ac-3691-45b4-9666-ddc89d8a1004" providerId="AD"/>
  <p188:author id="{9ECC5075-DACB-9256-E69D-6F73385B2649}" name="Moeyersoons Tobias" initials="MT" userId="S::tobias.moeyersoons@vlaanderen.be::baba099b-7329-46af-99e4-5cbfd9812416" providerId="AD"/>
  <p188:author id="{3444707D-80C5-2A8E-77AF-3F69BAA55A60}" name="Kerkhof Stefanie" initials="SK" userId="S::stefanie.kerkhof@vlaanderen.be::c94c9a88-41c3-4367-b18e-5eb1b6fa4a15" providerId="AD"/>
  <p188:author id="{98ADFE90-F961-7CAC-293C-696E56DBC8C0}" name="Van Hastel Pieter" initials="VP" userId="S::pieter.vanhastel@vlaanderen.be::026eaf0f-b5b7-4bf9-995d-e9b87f8f49a4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3DE8B"/>
    <a:srgbClr val="2A9196"/>
    <a:srgbClr val="FAF9EA"/>
    <a:srgbClr val="FEFBC9"/>
    <a:srgbClr val="ACA28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ajor">
          <a:schemeClr val="accent2"/>
        </a:fontRef>
        <a:schemeClr val="accent2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FFFACA"/>
          </a:solidFill>
        </a:fill>
      </a:tcStyle>
    </a:wholeTbl>
    <a:band2H>
      <a:tcTxStyle/>
      <a:tcStyle>
        <a:tcBdr/>
        <a:fill>
          <a:solidFill>
            <a:srgbClr val="FFFCE6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ajor">
          <a:schemeClr val="accent2"/>
        </a:fontRef>
        <a:schemeClr val="accent2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F5F1CA"/>
          </a:solidFill>
        </a:fill>
      </a:tcStyle>
    </a:wholeTbl>
    <a:band2H>
      <a:tcTxStyle/>
      <a:tcStyle>
        <a:tcBdr/>
        <a:fill>
          <a:solidFill>
            <a:srgbClr val="FAF8E6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EEE7283C-3CF3-47DC-8721-378D4A62B228}" styleName="">
    <a:tblBg/>
    <a:wholeTbl>
      <a:tcTxStyle b="off" i="off">
        <a:fontRef idx="major">
          <a:schemeClr val="accent2"/>
        </a:fontRef>
        <a:schemeClr val="accent2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DDDDD"/>
          </a:solidFill>
        </a:fill>
      </a:tcStyle>
    </a:wholeTbl>
    <a:band2H>
      <a:tcTxStyle/>
      <a:tcStyle>
        <a:tcBdr/>
        <a:fill>
          <a:solidFill>
            <a:srgbClr val="EFEFEF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CF821DB8-F4EB-4A41-A1BA-3FCAFE7338EE}" styleName="">
    <a:tblBg/>
    <a:wholeTbl>
      <a:tcTxStyle b="off" i="off">
        <a:fontRef idx="major">
          <a:schemeClr val="accent2"/>
        </a:fontRef>
        <a:schemeClr val="accent2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7E7E7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chemeClr val="accent2"/>
        </a:fontRef>
        <a:schemeClr val="accent2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chemeClr val="accent2"/>
              </a:solidFill>
              <a:prstDash val="solid"/>
              <a:round/>
            </a:ln>
          </a:top>
          <a:bottom>
            <a:ln w="25400" cap="flat">
              <a:solidFill>
                <a:schemeClr val="accent2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chemeClr val="accent2"/>
              </a:solidFill>
              <a:prstDash val="solid"/>
              <a:round/>
            </a:ln>
          </a:top>
          <a:bottom>
            <a:ln w="25400" cap="flat">
              <a:solidFill>
                <a:schemeClr val="accent2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33BA23B1-9221-436E-865A-0063620EA4FD}" styleName="">
    <a:tblBg/>
    <a:wholeTbl>
      <a:tcTxStyle b="off" i="off">
        <a:fontRef idx="major">
          <a:schemeClr val="accent2"/>
        </a:fontRef>
        <a:schemeClr val="accent2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>
              <a:lumOff val="20196"/>
            </a:schemeClr>
          </a:solidFill>
        </a:fill>
      </a:tcStyle>
    </a:wholeTbl>
    <a:band2H>
      <a:tcTxStyle/>
      <a:tcStyle>
        <a:tcBdr/>
        <a:fill>
          <a:solidFill>
            <a:srgbClr val="E7E7E7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2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2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2"/>
          </a:solidFill>
        </a:fill>
      </a:tcStyle>
    </a:firstRow>
  </a:tblStyle>
  <a:tblStyle styleId="{2708684C-4D16-4618-839F-0558EEFCDFE6}" styleName="">
    <a:tblBg/>
    <a:wholeTbl>
      <a:tcTxStyle b="off" i="off">
        <a:fontRef idx="major">
          <a:schemeClr val="accent2"/>
        </a:fontRef>
        <a:schemeClr val="accent2"/>
      </a:tcTxStyle>
      <a:tcStyle>
        <a:tcBdr>
          <a:left>
            <a:ln w="12700" cap="flat">
              <a:solidFill>
                <a:schemeClr val="accent2"/>
              </a:solidFill>
              <a:prstDash val="solid"/>
              <a:round/>
            </a:ln>
          </a:left>
          <a:right>
            <a:ln w="12700" cap="flat">
              <a:solidFill>
                <a:schemeClr val="accent2"/>
              </a:solidFill>
              <a:prstDash val="solid"/>
              <a:round/>
            </a:ln>
          </a:right>
          <a:top>
            <a:ln w="12700" cap="flat">
              <a:solidFill>
                <a:schemeClr val="accent2"/>
              </a:solidFill>
              <a:prstDash val="solid"/>
              <a:round/>
            </a:ln>
          </a:top>
          <a:bottom>
            <a:ln w="12700" cap="flat">
              <a:solidFill>
                <a:schemeClr val="accent2"/>
              </a:solidFill>
              <a:prstDash val="solid"/>
              <a:round/>
            </a:ln>
          </a:bottom>
          <a:insideH>
            <a:ln w="12700" cap="flat">
              <a:solidFill>
                <a:schemeClr val="accent2"/>
              </a:solidFill>
              <a:prstDash val="solid"/>
              <a:round/>
            </a:ln>
          </a:insideH>
          <a:insideV>
            <a:ln w="12700" cap="flat">
              <a:solidFill>
                <a:schemeClr val="accent2"/>
              </a:solidFill>
              <a:prstDash val="solid"/>
              <a:round/>
            </a:ln>
          </a:insideV>
        </a:tcBdr>
        <a:fill>
          <a:solidFill>
            <a:schemeClr val="accent2">
              <a:alpha val="20000"/>
            </a:scheme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ajor">
          <a:schemeClr val="accent2"/>
        </a:fontRef>
        <a:schemeClr val="accent2"/>
      </a:tcTxStyle>
      <a:tcStyle>
        <a:tcBdr>
          <a:left>
            <a:ln w="12700" cap="flat">
              <a:solidFill>
                <a:schemeClr val="accent2"/>
              </a:solidFill>
              <a:prstDash val="solid"/>
              <a:round/>
            </a:ln>
          </a:left>
          <a:right>
            <a:ln w="12700" cap="flat">
              <a:solidFill>
                <a:schemeClr val="accent2"/>
              </a:solidFill>
              <a:prstDash val="solid"/>
              <a:round/>
            </a:ln>
          </a:right>
          <a:top>
            <a:ln w="12700" cap="flat">
              <a:solidFill>
                <a:schemeClr val="accent2"/>
              </a:solidFill>
              <a:prstDash val="solid"/>
              <a:round/>
            </a:ln>
          </a:top>
          <a:bottom>
            <a:ln w="12700" cap="flat">
              <a:solidFill>
                <a:schemeClr val="accent2"/>
              </a:solidFill>
              <a:prstDash val="solid"/>
              <a:round/>
            </a:ln>
          </a:bottom>
          <a:insideH>
            <a:ln w="12700" cap="flat">
              <a:solidFill>
                <a:schemeClr val="accent2"/>
              </a:solidFill>
              <a:prstDash val="solid"/>
              <a:round/>
            </a:ln>
          </a:insideH>
          <a:insideV>
            <a:ln w="12700" cap="flat">
              <a:solidFill>
                <a:schemeClr val="accent2"/>
              </a:solidFill>
              <a:prstDash val="solid"/>
              <a:round/>
            </a:ln>
          </a:insideV>
        </a:tcBdr>
        <a:fill>
          <a:solidFill>
            <a:schemeClr val="accent2">
              <a:alpha val="20000"/>
            </a:schemeClr>
          </a:solidFill>
        </a:fill>
      </a:tcStyle>
    </a:firstCol>
    <a:lastRow>
      <a:tcTxStyle b="on" i="off">
        <a:fontRef idx="major">
          <a:schemeClr val="accent2"/>
        </a:fontRef>
        <a:schemeClr val="accent2"/>
      </a:tcTxStyle>
      <a:tcStyle>
        <a:tcBdr>
          <a:left>
            <a:ln w="12700" cap="flat">
              <a:solidFill>
                <a:schemeClr val="accent2"/>
              </a:solidFill>
              <a:prstDash val="solid"/>
              <a:round/>
            </a:ln>
          </a:left>
          <a:right>
            <a:ln w="12700" cap="flat">
              <a:solidFill>
                <a:schemeClr val="accent2"/>
              </a:solidFill>
              <a:prstDash val="solid"/>
              <a:round/>
            </a:ln>
          </a:right>
          <a:top>
            <a:ln w="50800" cap="flat">
              <a:solidFill>
                <a:schemeClr val="accent2"/>
              </a:solidFill>
              <a:prstDash val="solid"/>
              <a:round/>
            </a:ln>
          </a:top>
          <a:bottom>
            <a:ln w="12700" cap="flat">
              <a:solidFill>
                <a:schemeClr val="accent2"/>
              </a:solidFill>
              <a:prstDash val="solid"/>
              <a:round/>
            </a:ln>
          </a:bottom>
          <a:insideH>
            <a:ln w="12700" cap="flat">
              <a:solidFill>
                <a:schemeClr val="accent2"/>
              </a:solidFill>
              <a:prstDash val="solid"/>
              <a:round/>
            </a:ln>
          </a:insideH>
          <a:insideV>
            <a:ln w="12700" cap="flat">
              <a:solidFill>
                <a:schemeClr val="accent2"/>
              </a:solidFill>
              <a:prstDash val="solid"/>
              <a:round/>
            </a:ln>
          </a:insideV>
        </a:tcBdr>
        <a:fill>
          <a:noFill/>
        </a:fill>
      </a:tcStyle>
    </a:lastRow>
    <a:firstRow>
      <a:tcTxStyle b="on" i="off">
        <a:fontRef idx="major">
          <a:schemeClr val="accent2"/>
        </a:fontRef>
        <a:schemeClr val="accent2"/>
      </a:tcTxStyle>
      <a:tcStyle>
        <a:tcBdr>
          <a:left>
            <a:ln w="12700" cap="flat">
              <a:solidFill>
                <a:schemeClr val="accent2"/>
              </a:solidFill>
              <a:prstDash val="solid"/>
              <a:round/>
            </a:ln>
          </a:left>
          <a:right>
            <a:ln w="12700" cap="flat">
              <a:solidFill>
                <a:schemeClr val="accent2"/>
              </a:solidFill>
              <a:prstDash val="solid"/>
              <a:round/>
            </a:ln>
          </a:right>
          <a:top>
            <a:ln w="12700" cap="flat">
              <a:solidFill>
                <a:schemeClr val="accent2"/>
              </a:solidFill>
              <a:prstDash val="solid"/>
              <a:round/>
            </a:ln>
          </a:top>
          <a:bottom>
            <a:ln w="25400" cap="flat">
              <a:solidFill>
                <a:schemeClr val="accent2"/>
              </a:solidFill>
              <a:prstDash val="solid"/>
              <a:round/>
            </a:ln>
          </a:bottom>
          <a:insideH>
            <a:ln w="12700" cap="flat">
              <a:solidFill>
                <a:schemeClr val="accent2"/>
              </a:solidFill>
              <a:prstDash val="solid"/>
              <a:round/>
            </a:ln>
          </a:insideH>
          <a:insideV>
            <a:ln w="12700" cap="flat">
              <a:solidFill>
                <a:schemeClr val="accent2"/>
              </a:solidFill>
              <a:prstDash val="solid"/>
              <a:round/>
            </a:ln>
          </a:insideV>
        </a:tcBdr>
        <a:fill>
          <a:noFill/>
        </a:fill>
      </a:tcStyle>
    </a:firstRow>
  </a:tblStyle>
  <a:tblStyle styleId="{5940675A-B579-460E-94D1-54222C63F5DA}" styleName="Geen stijl, tabel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012"/>
    <p:restoredTop sz="68356"/>
  </p:normalViewPr>
  <p:slideViewPr>
    <p:cSldViewPr snapToGrid="0">
      <p:cViewPr varScale="1">
        <p:scale>
          <a:sx n="85" d="100"/>
          <a:sy n="85" d="100"/>
        </p:scale>
        <p:origin x="1448" y="16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21" Type="http://schemas.openxmlformats.org/officeDocument/2006/relationships/slide" Target="slides/slide12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notesMaster" Target="notesMasters/notesMaster1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slide" Target="slides/slide2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theme" Target="theme/theme1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6" name="Shape 566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567" name="Shape 567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latinLnBrk="0">
      <a:defRPr sz="1200">
        <a:latin typeface="+mn-lt"/>
        <a:ea typeface="+mn-ea"/>
        <a:cs typeface="+mn-cs"/>
        <a:sym typeface="Calibri"/>
      </a:defRPr>
    </a:lvl1pPr>
    <a:lvl2pPr indent="228600" latinLnBrk="0">
      <a:defRPr sz="1200">
        <a:latin typeface="+mn-lt"/>
        <a:ea typeface="+mn-ea"/>
        <a:cs typeface="+mn-cs"/>
        <a:sym typeface="Calibri"/>
      </a:defRPr>
    </a:lvl2pPr>
    <a:lvl3pPr indent="457200" latinLnBrk="0">
      <a:defRPr sz="1200">
        <a:latin typeface="+mn-lt"/>
        <a:ea typeface="+mn-ea"/>
        <a:cs typeface="+mn-cs"/>
        <a:sym typeface="Calibri"/>
      </a:defRPr>
    </a:lvl3pPr>
    <a:lvl4pPr indent="685800" latinLnBrk="0">
      <a:defRPr sz="1200">
        <a:latin typeface="+mn-lt"/>
        <a:ea typeface="+mn-ea"/>
        <a:cs typeface="+mn-cs"/>
        <a:sym typeface="Calibri"/>
      </a:defRPr>
    </a:lvl4pPr>
    <a:lvl5pPr indent="914400" latinLnBrk="0">
      <a:defRPr sz="1200">
        <a:latin typeface="+mn-lt"/>
        <a:ea typeface="+mn-ea"/>
        <a:cs typeface="+mn-cs"/>
        <a:sym typeface="Calibri"/>
      </a:defRPr>
    </a:lvl5pPr>
    <a:lvl6pPr indent="1143000" latinLnBrk="0">
      <a:defRPr sz="1200">
        <a:latin typeface="+mn-lt"/>
        <a:ea typeface="+mn-ea"/>
        <a:cs typeface="+mn-cs"/>
        <a:sym typeface="Calibri"/>
      </a:defRPr>
    </a:lvl6pPr>
    <a:lvl7pPr indent="1371600" latinLnBrk="0">
      <a:defRPr sz="1200">
        <a:latin typeface="+mn-lt"/>
        <a:ea typeface="+mn-ea"/>
        <a:cs typeface="+mn-cs"/>
        <a:sym typeface="Calibri"/>
      </a:defRPr>
    </a:lvl7pPr>
    <a:lvl8pPr indent="1600200" latinLnBrk="0">
      <a:defRPr sz="1200">
        <a:latin typeface="+mn-lt"/>
        <a:ea typeface="+mn-ea"/>
        <a:cs typeface="+mn-cs"/>
        <a:sym typeface="Calibri"/>
      </a:defRPr>
    </a:lvl8pPr>
    <a:lvl9pPr indent="1828800" latinLnBrk="0">
      <a:defRPr sz="1200">
        <a:latin typeface="+mn-lt"/>
        <a:ea typeface="+mn-ea"/>
        <a:cs typeface="+mn-cs"/>
        <a:sym typeface="Calibri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9D63CE-E297-449D-AA49-CCCE77D3143C}" type="slidenum">
              <a:rPr kumimoji="0" lang="nl-B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Helvetica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nl-B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16252812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6219321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62156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93449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8033928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B6F816-32D2-374C-0753-3D7C152DEB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E5BA03C-582E-1935-3CAF-7D4B7A5A81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F9E7BB0-F407-CB7E-6164-9AF08774BF8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72252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D83EA2-C3BF-BE7A-2D28-E073868E9A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9E8E859-76DB-90E5-5874-91F0D96FDA1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03758E4-DDDA-C7AF-126B-3CD27F4D778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11136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41702971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4597080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3985706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sv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4.sv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5.svg"/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sv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4.sv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52.jpeg"/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1.svg"/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4.sv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hemeOverride" Target="../theme/themeOverride4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hemeOverride" Target="../theme/themeOverride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4.sv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slideMaster" Target="../slideMasters/slideMaster5.xml"/><Relationship Id="rId1" Type="http://schemas.openxmlformats.org/officeDocument/2006/relationships/themeOverride" Target="../theme/themeOverride6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55.jpeg"/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56.jpeg"/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6.svg"/><Relationship Id="rId4" Type="http://schemas.openxmlformats.org/officeDocument/2006/relationships/hyperlink" Target="https://binnenland.vlaanderen.be/" TargetMode="Externa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4.sv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10.svg"/><Relationship Id="rId1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.xml"/><Relationship Id="rId2" Type="http://schemas.openxmlformats.org/officeDocument/2006/relationships/image" Target="../media/image11.sv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2.svg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svg"/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svg"/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svg"/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58.jpeg"/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.xml"/><Relationship Id="rId2" Type="http://schemas.openxmlformats.org/officeDocument/2006/relationships/image" Target="../media/image59.sv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2.svg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svg"/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svg"/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4.sv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svg"/><Relationship Id="rId2" Type="http://schemas.openxmlformats.org/officeDocument/2006/relationships/image" Target="../media/image61.jpeg"/><Relationship Id="rId1" Type="http://schemas.openxmlformats.org/officeDocument/2006/relationships/slideMaster" Target="../slideMasters/slideMaster6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6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svg"/><Relationship Id="rId1" Type="http://schemas.openxmlformats.org/officeDocument/2006/relationships/slideMaster" Target="../slideMasters/slideMaster6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63.jpeg"/><Relationship Id="rId1" Type="http://schemas.openxmlformats.org/officeDocument/2006/relationships/slideMaster" Target="../slideMasters/slideMaster6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.xml"/><Relationship Id="rId2" Type="http://schemas.openxmlformats.org/officeDocument/2006/relationships/image" Target="../media/image11.sv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2.svg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2.svg"/><Relationship Id="rId4" Type="http://schemas.openxmlformats.org/officeDocument/2006/relationships/slide" Target="../slides/slide1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svg"/><Relationship Id="rId1" Type="http://schemas.openxmlformats.org/officeDocument/2006/relationships/slideMaster" Target="../slideMasters/slideMaster6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4.svg"/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4.sv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4.svg"/><Relationship Id="rId1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7" Type="http://schemas.openxmlformats.org/officeDocument/2006/relationships/image" Target="../media/image6.svg"/><Relationship Id="rId2" Type="http://schemas.openxmlformats.org/officeDocument/2006/relationships/image" Target="../media/image64.jpeg"/><Relationship Id="rId1" Type="http://schemas.openxmlformats.org/officeDocument/2006/relationships/slideMaster" Target="../slideMasters/slideMaster6.xml"/><Relationship Id="rId6" Type="http://schemas.openxmlformats.org/officeDocument/2006/relationships/hyperlink" Target="https://binnenland.vlaanderen.be/" TargetMode="External"/><Relationship Id="rId5" Type="http://schemas.openxmlformats.org/officeDocument/2006/relationships/image" Target="../media/image5.svg"/><Relationship Id="rId4" Type="http://schemas.openxmlformats.org/officeDocument/2006/relationships/image" Target="../media/image66.jpeg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5.svg"/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4.sv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4.sv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4.sv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sv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4.sv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4.sv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4.sv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4.sv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4.sv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sv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sv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5.sv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5.sv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5.sv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hyperlink" Target="https://binnenland.vlaanderen.be/" TargetMode="External"/><Relationship Id="rId4" Type="http://schemas.openxmlformats.org/officeDocument/2006/relationships/image" Target="../media/image5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5.sv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5.sv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5.sv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sv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9.sv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7" Type="http://schemas.openxmlformats.org/officeDocument/2006/relationships/image" Target="../media/image6.sv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binnenland.vlaanderen.be/" TargetMode="External"/><Relationship Id="rId5" Type="http://schemas.openxmlformats.org/officeDocument/2006/relationships/image" Target="../media/image5.svg"/><Relationship Id="rId4" Type="http://schemas.openxmlformats.org/officeDocument/2006/relationships/image" Target="../media/image9.jpe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1.sv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sv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svg"/><Relationship Id="rId4" Type="http://schemas.openxmlformats.org/officeDocument/2006/relationships/image" Target="../media/image2.sv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3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4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1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hyperlink" Target="../../../../lokaalbestuur.vlaanderen.be" TargetMode="External"/><Relationship Id="rId2" Type="http://schemas.openxmlformats.org/officeDocument/2006/relationships/image" Target="../media/image10.sv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2.sv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sv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1.sv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1.sv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svg"/><Relationship Id="rId4" Type="http://schemas.openxmlformats.org/officeDocument/2006/relationships/hyperlink" Target="https://binnenland.vlaanderen.be/" TargetMode="Externa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sv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3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sv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sv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sv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5.sv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1.sv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7.svg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5.svg"/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svg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svg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0.png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4.sv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1.sv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2.svg"/><Relationship Id="rId4" Type="http://schemas.openxmlformats.org/officeDocument/2006/relationships/hyperlink" Target="https://binnenland.vlaanderen.be/" TargetMode="Externa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svg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svg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4.svg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svg"/><Relationship Id="rId4" Type="http://schemas.openxmlformats.org/officeDocument/2006/relationships/hyperlink" Target="https://binnenland.vlaanderen.be/" TargetMode="Externa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1.sv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2.svg"/><Relationship Id="rId4" Type="http://schemas.openxmlformats.org/officeDocument/2006/relationships/slide" Target="../slides/slide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-tekst//geel-grijs//GEEN LIJ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BA751AC2-9D5E-41BC-899A-2B7DB98B448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4010025" y="0"/>
            <a:ext cx="8181975" cy="1743075"/>
          </a:xfrm>
          <a:prstGeom prst="rect">
            <a:avLst/>
          </a:prstGeom>
        </p:spPr>
      </p:pic>
      <p:sp>
        <p:nvSpPr>
          <p:cNvPr id="14" name="Titel 13">
            <a:extLst>
              <a:ext uri="{FF2B5EF4-FFF2-40B4-BE49-F238E27FC236}">
                <a16:creationId xmlns:a16="http://schemas.microsoft.com/office/drawing/2014/main" id="{CFFADA01-1A92-42A5-8352-E3EEC3837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357189"/>
            <a:ext cx="10753200" cy="1080000"/>
          </a:xfrm>
        </p:spPr>
        <p:txBody>
          <a:bodyPr anchor="ctr" anchorCtr="0">
            <a:normAutofit/>
          </a:bodyPr>
          <a:lstStyle>
            <a:lvl1pPr>
              <a:defRPr sz="36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15" name="Tijdelijke aanduiding voor tekst 2">
            <a:extLst>
              <a:ext uri="{FF2B5EF4-FFF2-40B4-BE49-F238E27FC236}">
                <a16:creationId xmlns:a16="http://schemas.microsoft.com/office/drawing/2014/main" id="{6A43CE44-E083-4BCC-B28E-A7F4B39010B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725" y="1799999"/>
            <a:ext cx="10752138" cy="3960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pic>
        <p:nvPicPr>
          <p:cNvPr id="6" name="Graphic 5">
            <a:hlinkClick r:id="" action="ppaction://noaction"/>
            <a:extLst>
              <a:ext uri="{FF2B5EF4-FFF2-40B4-BE49-F238E27FC236}">
                <a16:creationId xmlns:a16="http://schemas.microsoft.com/office/drawing/2014/main" id="{BD74FE73-3170-4698-AE20-F43FEC16292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26557" y="5956050"/>
            <a:ext cx="1311431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177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B_domein00_algem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E5ED4797-6B38-4DEC-A43D-AF91CC36E67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0" y="0"/>
            <a:ext cx="1747930" cy="6858000"/>
          </a:xfrm>
          <a:prstGeom prst="rect">
            <a:avLst/>
          </a:prstGeom>
        </p:spPr>
      </p:pic>
      <p:sp>
        <p:nvSpPr>
          <p:cNvPr id="11" name="Titel 10">
            <a:extLst>
              <a:ext uri="{FF2B5EF4-FFF2-40B4-BE49-F238E27FC236}">
                <a16:creationId xmlns:a16="http://schemas.microsoft.com/office/drawing/2014/main" id="{2E250162-3FBD-465A-A88D-B1EF97043D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0000" y="357189"/>
            <a:ext cx="9493924" cy="1082811"/>
          </a:xfrm>
        </p:spPr>
        <p:txBody>
          <a:bodyPr lIns="0" anchor="ctr" anchorCtr="0">
            <a:normAutofit/>
          </a:bodyPr>
          <a:lstStyle>
            <a:lvl1pPr>
              <a:defRPr sz="36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1E1B337E-B563-4F3A-9CDE-5329B589DA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80000" y="1980000"/>
            <a:ext cx="9496800" cy="4157275"/>
          </a:xfrm>
        </p:spPr>
        <p:txBody>
          <a:bodyPr lIns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pic>
        <p:nvPicPr>
          <p:cNvPr id="7" name="Graphic 6">
            <a:hlinkClick r:id="" action="ppaction://noaction"/>
            <a:extLst>
              <a:ext uri="{FF2B5EF4-FFF2-40B4-BE49-F238E27FC236}">
                <a16:creationId xmlns:a16="http://schemas.microsoft.com/office/drawing/2014/main" id="{9428F45E-814A-4F25-BF29-6D4EDF953B7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8774" y="357189"/>
            <a:ext cx="1008000" cy="415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814473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-tekst//geel//LIJ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65C809DF-DE53-4F87-BA6D-E6C07F856F9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725" y="1799999"/>
            <a:ext cx="10752138" cy="3960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16" name="Titel 13">
            <a:extLst>
              <a:ext uri="{FF2B5EF4-FFF2-40B4-BE49-F238E27FC236}">
                <a16:creationId xmlns:a16="http://schemas.microsoft.com/office/drawing/2014/main" id="{F265506E-0B97-4EC8-A558-3BC473CC55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357189"/>
            <a:ext cx="10753200" cy="1080000"/>
          </a:xfrm>
        </p:spPr>
        <p:txBody>
          <a:bodyPr anchor="ctr" anchorCtr="0">
            <a:normAutofit/>
          </a:bodyPr>
          <a:lstStyle>
            <a:lvl1pPr>
              <a:lnSpc>
                <a:spcPct val="95000"/>
              </a:lnSpc>
              <a:defRPr sz="36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D63A4364-EF9D-49E9-84AA-D6F2A22D346A}"/>
              </a:ext>
            </a:extLst>
          </p:cNvPr>
          <p:cNvCxnSpPr/>
          <p:nvPr userDrawn="1"/>
        </p:nvCxnSpPr>
        <p:spPr>
          <a:xfrm>
            <a:off x="720725" y="1440000"/>
            <a:ext cx="900000" cy="0"/>
          </a:xfrm>
          <a:prstGeom prst="line">
            <a:avLst/>
          </a:prstGeom>
          <a:ln w="50800">
            <a:solidFill>
              <a:srgbClr val="FFE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603498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ot met inhoud en vo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117798-0E34-433C-8B70-DED8B15A4F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7A03C0B-2867-4A07-8481-53C75954BF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BE"/>
              <a:t>31/01/2019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511E263-C227-47F1-ACDE-6716B560F9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BE"/>
              <a:t>Organisatiestructuur DigiTeam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9A20DA6-B6EB-47AF-BC93-64038E497C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BE"/>
              <a:t>| </a:t>
            </a:r>
            <a:fld id="{492AD3B4-D906-4191-84FB-4FE613E48036}" type="slidenum">
              <a:rPr lang="nl-BE" smtClean="0"/>
              <a:pPr/>
              <a:t>‹nr.›</a:t>
            </a:fld>
            <a:endParaRPr lang="nl-BE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79C6F80-9F62-4DCF-AF5B-E8D8C4BE0CD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96888" y="669925"/>
            <a:ext cx="11536616" cy="60260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43834406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oot met inhoud en vo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117798-0E34-433C-8B70-DED8B15A4F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7A03C0B-2867-4A07-8481-53C75954BF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BE"/>
              <a:t>31/01/2019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511E263-C227-47F1-ACDE-6716B560F9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BE"/>
              <a:t>Organisatiestructuur DigiTeam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9A20DA6-B6EB-47AF-BC93-64038E497C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BE"/>
              <a:t>| </a:t>
            </a:r>
            <a:fld id="{492AD3B4-D906-4191-84FB-4FE613E48036}" type="slidenum">
              <a:rPr lang="nl-BE" smtClean="0"/>
              <a:pPr/>
              <a:t>‹nr.›</a:t>
            </a:fld>
            <a:endParaRPr lang="nl-BE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79C6F80-9F62-4DCF-AF5B-E8D8C4BE0CD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96888" y="669925"/>
            <a:ext cx="5599112" cy="60260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3DD1F2-9EFA-4A0E-AB26-9C51EFC528B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65056" y="669924"/>
            <a:ext cx="5599112" cy="60260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591404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ot zonder inhoud met vo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DEF0D9-A297-4871-9327-C373EDE7A7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263FD04-0310-4F81-8E1F-336DB2118E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BE"/>
              <a:t>31/01/2019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007EA39-8060-4B85-BA92-3058CE2114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BE"/>
              <a:t>Organisatiestructuur DigiTeam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E4907A3-38F9-43C4-ACC3-64A455E559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BE"/>
              <a:t>| </a:t>
            </a:r>
            <a:fld id="{492AD3B4-D906-4191-84FB-4FE613E48036}" type="slidenum">
              <a:rPr lang="nl-BE" smtClean="0"/>
              <a:pPr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88736307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oot zonder inhoud met vo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DEF0D9-A297-4871-9327-C373EDE7A7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ctr"/>
          <a:lstStyle>
            <a:lvl1pPr algn="ctr">
              <a:defRPr sz="4400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263FD04-0310-4F81-8E1F-336DB2118E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BE"/>
              <a:t>31/01/2019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007EA39-8060-4B85-BA92-3058CE2114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BE"/>
              <a:t>Organisatiestructuur DigiTeam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E4907A3-38F9-43C4-ACC3-64A455E559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BE"/>
              <a:t>| </a:t>
            </a:r>
            <a:fld id="{492AD3B4-D906-4191-84FB-4FE613E48036}" type="slidenum">
              <a:rPr lang="nl-BE" smtClean="0"/>
              <a:pPr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43756697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g met vo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263FD04-0310-4F81-8E1F-336DB2118E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BE"/>
              <a:t>31/01/2019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007EA39-8060-4B85-BA92-3058CE2114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BE"/>
              <a:t>Organisatiestructuur DigiTeam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E4907A3-38F9-43C4-ACC3-64A455E559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BE"/>
              <a:t>| </a:t>
            </a:r>
            <a:fld id="{492AD3B4-D906-4191-84FB-4FE613E48036}" type="slidenum">
              <a:rPr lang="nl-BE" smtClean="0"/>
              <a:pPr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67351068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eeg">
  <p:cSld name="Leeg"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p22"/>
          <p:cNvSpPr txBox="1">
            <a:spLocks noGrp="1"/>
          </p:cNvSpPr>
          <p:nvPr>
            <p:ph type="sldNum" idx="12"/>
          </p:nvPr>
        </p:nvSpPr>
        <p:spPr>
          <a:xfrm>
            <a:off x="9168019" y="6336000"/>
            <a:ext cx="28556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nl"/>
              <a:t>17/01/2018 </a:t>
            </a:r>
            <a:r>
              <a:rPr lang="nl" b="1"/>
              <a:t>│</a:t>
            </a:r>
            <a:fld id="{00000000-1234-1234-1234-123412341234}" type="slidenum">
              <a:rPr lang="nl" smtClean="0"/>
              <a:pPr/>
              <a:t>‹nr.›</a:t>
            </a:fld>
            <a:endParaRPr/>
          </a:p>
        </p:txBody>
      </p:sp>
      <p:sp>
        <p:nvSpPr>
          <p:cNvPr id="109" name="Google Shape;109;p22"/>
          <p:cNvSpPr txBox="1">
            <a:spLocks noGrp="1"/>
          </p:cNvSpPr>
          <p:nvPr>
            <p:ph type="title"/>
          </p:nvPr>
        </p:nvSpPr>
        <p:spPr>
          <a:xfrm>
            <a:off x="1728000" y="756000"/>
            <a:ext cx="9888000" cy="11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2702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sz="3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0" name="Google Shape;110;p22"/>
          <p:cNvSpPr txBox="1">
            <a:spLocks noGrp="1"/>
          </p:cNvSpPr>
          <p:nvPr>
            <p:ph type="body" idx="1"/>
          </p:nvPr>
        </p:nvSpPr>
        <p:spPr>
          <a:xfrm>
            <a:off x="1728000" y="1915200"/>
            <a:ext cx="9888000" cy="36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354330" algn="l" rtl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980"/>
              <a:buFont typeface="Arial"/>
              <a:buChar char="•"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3375" algn="l" rtl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7F7F7F"/>
              </a:buClr>
              <a:buSzPts val="1650"/>
              <a:buFont typeface="Arial"/>
              <a:buChar char="•"/>
              <a:defRPr sz="22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6550" algn="l" rtl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23850" algn="l" rtl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11" name="Google Shape;111;p2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864000" y="5857202"/>
            <a:ext cx="1836000" cy="71431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8459576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-tekst//geel//LIJ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65C809DF-DE53-4F87-BA6D-E6C07F856F9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725" y="1799999"/>
            <a:ext cx="10752138" cy="3960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16" name="Titel 13">
            <a:extLst>
              <a:ext uri="{FF2B5EF4-FFF2-40B4-BE49-F238E27FC236}">
                <a16:creationId xmlns:a16="http://schemas.microsoft.com/office/drawing/2014/main" id="{F265506E-0B97-4EC8-A558-3BC473CC55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357189"/>
            <a:ext cx="10753200" cy="1080000"/>
          </a:xfrm>
        </p:spPr>
        <p:txBody>
          <a:bodyPr anchor="ctr" anchorCtr="0">
            <a:normAutofit/>
          </a:bodyPr>
          <a:lstStyle>
            <a:lvl1pPr>
              <a:lnSpc>
                <a:spcPct val="95000"/>
              </a:lnSpc>
              <a:defRPr sz="36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D63A4364-EF9D-49E9-84AA-D6F2A22D346A}"/>
              </a:ext>
            </a:extLst>
          </p:cNvPr>
          <p:cNvCxnSpPr/>
          <p:nvPr userDrawn="1"/>
        </p:nvCxnSpPr>
        <p:spPr>
          <a:xfrm>
            <a:off x="720725" y="1440000"/>
            <a:ext cx="900000" cy="0"/>
          </a:xfrm>
          <a:prstGeom prst="line">
            <a:avLst/>
          </a:prstGeom>
          <a:ln w="50800">
            <a:solidFill>
              <a:srgbClr val="FFE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026440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el-tekst//geel//LIJN//logoBove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65C809DF-DE53-4F87-BA6D-E6C07F856F9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725" y="1799999"/>
            <a:ext cx="10752138" cy="3960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32F63AF-17D1-4117-AD09-4BB236E7B21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5419725" y="0"/>
            <a:ext cx="6772275" cy="1438275"/>
          </a:xfrm>
          <a:prstGeom prst="rect">
            <a:avLst/>
          </a:prstGeom>
        </p:spPr>
      </p:pic>
      <p:sp>
        <p:nvSpPr>
          <p:cNvPr id="16" name="Titel 13">
            <a:extLst>
              <a:ext uri="{FF2B5EF4-FFF2-40B4-BE49-F238E27FC236}">
                <a16:creationId xmlns:a16="http://schemas.microsoft.com/office/drawing/2014/main" id="{F265506E-0B97-4EC8-A558-3BC473CC55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357189"/>
            <a:ext cx="10753200" cy="1080000"/>
          </a:xfrm>
        </p:spPr>
        <p:txBody>
          <a:bodyPr anchor="ctr" anchorCtr="0">
            <a:normAutofit/>
          </a:bodyPr>
          <a:lstStyle>
            <a:lvl1pPr>
              <a:lnSpc>
                <a:spcPct val="95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pic>
        <p:nvPicPr>
          <p:cNvPr id="7" name="Graphic 6">
            <a:hlinkClick r:id="" action="ppaction://noaction"/>
            <a:extLst>
              <a:ext uri="{FF2B5EF4-FFF2-40B4-BE49-F238E27FC236}">
                <a16:creationId xmlns:a16="http://schemas.microsoft.com/office/drawing/2014/main" id="{D51D7E58-7899-4B1F-A26A-C5E001A53B3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3638" y="357188"/>
            <a:ext cx="1008000" cy="415060"/>
          </a:xfrm>
          <a:prstGeom prst="rect">
            <a:avLst/>
          </a:prstGeom>
        </p:spPr>
      </p:pic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D63A4364-EF9D-49E9-84AA-D6F2A22D346A}"/>
              </a:ext>
            </a:extLst>
          </p:cNvPr>
          <p:cNvCxnSpPr/>
          <p:nvPr userDrawn="1"/>
        </p:nvCxnSpPr>
        <p:spPr>
          <a:xfrm>
            <a:off x="720725" y="1440000"/>
            <a:ext cx="900000" cy="0"/>
          </a:xfrm>
          <a:prstGeom prst="line">
            <a:avLst/>
          </a:prstGeom>
          <a:ln w="50800">
            <a:solidFill>
              <a:srgbClr val="FFE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16DA0C5A-296C-481E-93EC-5C3C0BB4A0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854D495-7224-4CA1-A1F2-96D892C452AE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1489293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-tekst//geel-grijs//GEEN LIJ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BA751AC2-9D5E-41BC-899A-2B7DB98B448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4010025" y="0"/>
            <a:ext cx="8181975" cy="1743075"/>
          </a:xfrm>
          <a:prstGeom prst="rect">
            <a:avLst/>
          </a:prstGeom>
        </p:spPr>
      </p:pic>
      <p:sp>
        <p:nvSpPr>
          <p:cNvPr id="14" name="Titel 13">
            <a:extLst>
              <a:ext uri="{FF2B5EF4-FFF2-40B4-BE49-F238E27FC236}">
                <a16:creationId xmlns:a16="http://schemas.microsoft.com/office/drawing/2014/main" id="{CFFADA01-1A92-42A5-8352-E3EEC3837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357189"/>
            <a:ext cx="10753200" cy="1080000"/>
          </a:xfrm>
        </p:spPr>
        <p:txBody>
          <a:bodyPr anchor="ctr" anchorCtr="0">
            <a:normAutofit/>
          </a:bodyPr>
          <a:lstStyle>
            <a:lvl1pPr>
              <a:defRPr sz="36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15" name="Tijdelijke aanduiding voor tekst 2">
            <a:extLst>
              <a:ext uri="{FF2B5EF4-FFF2-40B4-BE49-F238E27FC236}">
                <a16:creationId xmlns:a16="http://schemas.microsoft.com/office/drawing/2014/main" id="{6A43CE44-E083-4BCC-B28E-A7F4B39010B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725" y="1799999"/>
            <a:ext cx="10752138" cy="3960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pic>
        <p:nvPicPr>
          <p:cNvPr id="6" name="Graphic 5">
            <a:hlinkClick r:id="" action="ppaction://noaction"/>
            <a:extLst>
              <a:ext uri="{FF2B5EF4-FFF2-40B4-BE49-F238E27FC236}">
                <a16:creationId xmlns:a16="http://schemas.microsoft.com/office/drawing/2014/main" id="{BD74FE73-3170-4698-AE20-F43FEC16292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26557" y="5956050"/>
            <a:ext cx="1311431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1453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B_domein00_algemeen_header+lij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E5ED4797-6B38-4DEC-A43D-AF91CC36E67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0" y="0"/>
            <a:ext cx="1747930" cy="6858000"/>
          </a:xfrm>
          <a:prstGeom prst="rect">
            <a:avLst/>
          </a:prstGeom>
        </p:spPr>
      </p:pic>
      <p:sp>
        <p:nvSpPr>
          <p:cNvPr id="11" name="Titel 10">
            <a:extLst>
              <a:ext uri="{FF2B5EF4-FFF2-40B4-BE49-F238E27FC236}">
                <a16:creationId xmlns:a16="http://schemas.microsoft.com/office/drawing/2014/main" id="{2E250162-3FBD-465A-A88D-B1EF97043D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0000" y="720000"/>
            <a:ext cx="9493924" cy="720000"/>
          </a:xfrm>
        </p:spPr>
        <p:txBody>
          <a:bodyPr lIns="0" anchor="ctr" anchorCtr="0">
            <a:normAutofit/>
          </a:bodyPr>
          <a:lstStyle>
            <a:lvl1pPr>
              <a:defRPr sz="36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1E1B337E-B563-4F3A-9CDE-5329B589DA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80000" y="1980000"/>
            <a:ext cx="9496800" cy="4157275"/>
          </a:xfrm>
        </p:spPr>
        <p:txBody>
          <a:bodyPr lIns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pic>
        <p:nvPicPr>
          <p:cNvPr id="7" name="Graphic 6">
            <a:hlinkClick r:id="" action="ppaction://noaction"/>
            <a:extLst>
              <a:ext uri="{FF2B5EF4-FFF2-40B4-BE49-F238E27FC236}">
                <a16:creationId xmlns:a16="http://schemas.microsoft.com/office/drawing/2014/main" id="{9428F45E-814A-4F25-BF29-6D4EDF953B7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8774" y="357189"/>
            <a:ext cx="1008000" cy="415058"/>
          </a:xfrm>
          <a:prstGeom prst="rect">
            <a:avLst/>
          </a:prstGeom>
        </p:spPr>
      </p:pic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54FFD4E6-B8F9-4E64-B530-04AF07E085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979999" y="359999"/>
            <a:ext cx="9492863" cy="396000"/>
          </a:xfrm>
        </p:spPr>
        <p:txBody>
          <a:bodyPr anchor="b" anchorCtr="0">
            <a:normAutofit/>
          </a:bodyPr>
          <a:lstStyle>
            <a:lvl1pPr>
              <a:defRPr sz="1200">
                <a:latin typeface="FlandersArtSans-Medium" panose="00000600000000000000" pitchFamily="2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cxnSp>
        <p:nvCxnSpPr>
          <p:cNvPr id="10" name="Rechte verbindingslijn 9">
            <a:extLst>
              <a:ext uri="{FF2B5EF4-FFF2-40B4-BE49-F238E27FC236}">
                <a16:creationId xmlns:a16="http://schemas.microsoft.com/office/drawing/2014/main" id="{E3A148CB-828F-4DFD-AA4C-69725B2E3FBA}"/>
              </a:ext>
            </a:extLst>
          </p:cNvPr>
          <p:cNvCxnSpPr/>
          <p:nvPr userDrawn="1"/>
        </p:nvCxnSpPr>
        <p:spPr>
          <a:xfrm>
            <a:off x="1979999" y="1620000"/>
            <a:ext cx="900000" cy="0"/>
          </a:xfrm>
          <a:prstGeom prst="line">
            <a:avLst/>
          </a:prstGeom>
          <a:ln w="50800">
            <a:solidFill>
              <a:srgbClr val="FFE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490531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floor&#10;&#10;Description automatically generated">
            <a:extLst>
              <a:ext uri="{FF2B5EF4-FFF2-40B4-BE49-F238E27FC236}">
                <a16:creationId xmlns:a16="http://schemas.microsoft.com/office/drawing/2014/main" id="{75FEB3F6-D760-4900-BFEC-8E377FF245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192146" y="-13980"/>
            <a:ext cx="8999854" cy="6871980"/>
          </a:xfrm>
          <a:custGeom>
            <a:avLst/>
            <a:gdLst>
              <a:gd name="connsiteX0" fmla="*/ 0 w 8999854"/>
              <a:gd name="connsiteY0" fmla="*/ 0 h 6871980"/>
              <a:gd name="connsiteX1" fmla="*/ 6445616 w 8999854"/>
              <a:gd name="connsiteY1" fmla="*/ 0 h 6871980"/>
              <a:gd name="connsiteX2" fmla="*/ 8999854 w 8999854"/>
              <a:gd name="connsiteY2" fmla="*/ 1787025 h 6871980"/>
              <a:gd name="connsiteX3" fmla="*/ 8999854 w 8999854"/>
              <a:gd name="connsiteY3" fmla="*/ 5085019 h 6871980"/>
              <a:gd name="connsiteX4" fmla="*/ 6443798 w 8999854"/>
              <a:gd name="connsiteY4" fmla="*/ 6871980 h 6871980"/>
              <a:gd name="connsiteX5" fmla="*/ 6830 w 8999854"/>
              <a:gd name="connsiteY5" fmla="*/ 6871980 h 6871980"/>
              <a:gd name="connsiteX6" fmla="*/ 4911484 w 8999854"/>
              <a:gd name="connsiteY6" fmla="*/ 3436637 h 6871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99854" h="6871980">
                <a:moveTo>
                  <a:pt x="0" y="0"/>
                </a:moveTo>
                <a:lnTo>
                  <a:pt x="6445616" y="0"/>
                </a:lnTo>
                <a:lnTo>
                  <a:pt x="8999854" y="1787025"/>
                </a:lnTo>
                <a:lnTo>
                  <a:pt x="8999854" y="5085019"/>
                </a:lnTo>
                <a:lnTo>
                  <a:pt x="6443798" y="6871980"/>
                </a:lnTo>
                <a:lnTo>
                  <a:pt x="6830" y="6871980"/>
                </a:lnTo>
                <a:lnTo>
                  <a:pt x="4911484" y="3436637"/>
                </a:lnTo>
                <a:close/>
              </a:path>
            </a:pathLst>
          </a:cu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D3318853-BD0A-4D4E-A23C-6F522A62419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524268" y="2260633"/>
            <a:ext cx="5827945" cy="2336733"/>
            <a:chOff x="5283199" y="2561298"/>
            <a:chExt cx="5764429" cy="2311266"/>
          </a:xfrm>
          <a:solidFill>
            <a:schemeClr val="accent1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1A10232D-0449-4823-B949-BB1487F93B15}"/>
                </a:ext>
              </a:extLst>
            </p:cNvPr>
            <p:cNvSpPr/>
            <p:nvPr/>
          </p:nvSpPr>
          <p:spPr>
            <a:xfrm>
              <a:off x="5283199" y="2561298"/>
              <a:ext cx="2773520" cy="2311266"/>
            </a:xfrm>
            <a:custGeom>
              <a:avLst/>
              <a:gdLst>
                <a:gd name="connsiteX0" fmla="*/ 2773520 w 2773520"/>
                <a:gd name="connsiteY0" fmla="*/ 141189 h 2311266"/>
                <a:gd name="connsiteX1" fmla="*/ 1983425 w 2773520"/>
                <a:gd name="connsiteY1" fmla="*/ 2311266 h 2311266"/>
                <a:gd name="connsiteX2" fmla="*/ 1596567 w 2773520"/>
                <a:gd name="connsiteY2" fmla="*/ 2170077 h 2311266"/>
                <a:gd name="connsiteX3" fmla="*/ 2386380 w 2773520"/>
                <a:gd name="connsiteY3" fmla="*/ 0 h 2311266"/>
                <a:gd name="connsiteX4" fmla="*/ 2773520 w 2773520"/>
                <a:gd name="connsiteY4" fmla="*/ 141189 h 2311266"/>
                <a:gd name="connsiteX5" fmla="*/ 1073603 w 2773520"/>
                <a:gd name="connsiteY5" fmla="*/ 497268 h 2311266"/>
                <a:gd name="connsiteX6" fmla="*/ 1312777 w 2773520"/>
                <a:gd name="connsiteY6" fmla="*/ 831886 h 2311266"/>
                <a:gd name="connsiteX7" fmla="*/ 717523 w 2773520"/>
                <a:gd name="connsiteY7" fmla="*/ 1248394 h 2311266"/>
                <a:gd name="connsiteX8" fmla="*/ 1314189 w 2773520"/>
                <a:gd name="connsiteY8" fmla="*/ 1666314 h 2311266"/>
                <a:gd name="connsiteX9" fmla="*/ 1076426 w 2773520"/>
                <a:gd name="connsiteY9" fmla="*/ 2000933 h 2311266"/>
                <a:gd name="connsiteX10" fmla="*/ 0 w 2773520"/>
                <a:gd name="connsiteY10" fmla="*/ 1248394 h 2311266"/>
                <a:gd name="connsiteX11" fmla="*/ 1073603 w 2773520"/>
                <a:gd name="connsiteY11" fmla="*/ 497268 h 2311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73520" h="2311266">
                  <a:moveTo>
                    <a:pt x="2773520" y="141189"/>
                  </a:moveTo>
                  <a:lnTo>
                    <a:pt x="1983425" y="2311266"/>
                  </a:lnTo>
                  <a:lnTo>
                    <a:pt x="1596567" y="2170077"/>
                  </a:lnTo>
                  <a:lnTo>
                    <a:pt x="2386380" y="0"/>
                  </a:lnTo>
                  <a:lnTo>
                    <a:pt x="2773520" y="141189"/>
                  </a:lnTo>
                  <a:close/>
                  <a:moveTo>
                    <a:pt x="1073603" y="497268"/>
                  </a:moveTo>
                  <a:lnTo>
                    <a:pt x="1312777" y="831886"/>
                  </a:lnTo>
                  <a:lnTo>
                    <a:pt x="717523" y="1248394"/>
                  </a:lnTo>
                  <a:lnTo>
                    <a:pt x="1314189" y="1666314"/>
                  </a:lnTo>
                  <a:lnTo>
                    <a:pt x="1076426" y="2000933"/>
                  </a:lnTo>
                  <a:lnTo>
                    <a:pt x="0" y="1248394"/>
                  </a:lnTo>
                  <a:lnTo>
                    <a:pt x="1073603" y="497268"/>
                  </a:lnTo>
                  <a:close/>
                </a:path>
              </a:pathLst>
            </a:custGeom>
            <a:grpFill/>
            <a:ln w="282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1200" cap="none" spc="0" normalizeH="0" baseline="0" noProof="0">
                <a:ln>
                  <a:noFill/>
                </a:ln>
                <a:solidFill>
                  <a:srgbClr val="373636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6AFAFFD-068B-411B-9924-4347AE8245BE}"/>
                </a:ext>
              </a:extLst>
            </p:cNvPr>
            <p:cNvSpPr/>
            <p:nvPr/>
          </p:nvSpPr>
          <p:spPr>
            <a:xfrm>
              <a:off x="9733439" y="2965098"/>
              <a:ext cx="1314189" cy="1503664"/>
            </a:xfrm>
            <a:custGeom>
              <a:avLst/>
              <a:gdLst>
                <a:gd name="connsiteX0" fmla="*/ 0 w 1314189"/>
                <a:gd name="connsiteY0" fmla="*/ 1169046 h 1503664"/>
                <a:gd name="connsiteX1" fmla="*/ 596666 w 1314189"/>
                <a:gd name="connsiteY1" fmla="*/ 751126 h 1503664"/>
                <a:gd name="connsiteX2" fmla="*/ 1412 w 1314189"/>
                <a:gd name="connsiteY2" fmla="*/ 334618 h 1503664"/>
                <a:gd name="connsiteX3" fmla="*/ 240586 w 1314189"/>
                <a:gd name="connsiteY3" fmla="*/ 0 h 1503664"/>
                <a:gd name="connsiteX4" fmla="*/ 1314189 w 1314189"/>
                <a:gd name="connsiteY4" fmla="*/ 751126 h 1503664"/>
                <a:gd name="connsiteX5" fmla="*/ 237763 w 1314189"/>
                <a:gd name="connsiteY5" fmla="*/ 1503665 h 1503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14189" h="1503664">
                  <a:moveTo>
                    <a:pt x="0" y="1169046"/>
                  </a:moveTo>
                  <a:lnTo>
                    <a:pt x="596666" y="751126"/>
                  </a:lnTo>
                  <a:lnTo>
                    <a:pt x="1412" y="334618"/>
                  </a:lnTo>
                  <a:lnTo>
                    <a:pt x="240586" y="0"/>
                  </a:lnTo>
                  <a:lnTo>
                    <a:pt x="1314189" y="751126"/>
                  </a:lnTo>
                  <a:lnTo>
                    <a:pt x="237763" y="1503665"/>
                  </a:lnTo>
                  <a:close/>
                </a:path>
              </a:pathLst>
            </a:custGeom>
            <a:grpFill/>
            <a:ln w="282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1200" cap="none" spc="0" normalizeH="0" baseline="0" noProof="0">
                <a:ln>
                  <a:noFill/>
                </a:ln>
                <a:solidFill>
                  <a:srgbClr val="373636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14" name="Picture 13" descr="A picture containing text&#10;&#10;Description automatically generated">
            <a:extLst>
              <a:ext uri="{FF2B5EF4-FFF2-40B4-BE49-F238E27FC236}">
                <a16:creationId xmlns:a16="http://schemas.microsoft.com/office/drawing/2014/main" id="{1EC1DC95-204C-4D90-AE62-E3AD462DE1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0" y="5566969"/>
            <a:ext cx="3452102" cy="86889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BD7A1FC-C9B7-4EF4-8B3E-1788213793E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9787" y="1466457"/>
            <a:ext cx="4137327" cy="2071868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4800" b="1">
                <a:solidFill>
                  <a:schemeClr val="tx1"/>
                </a:solidFill>
              </a:defRPr>
            </a:lvl1pPr>
          </a:lstStyle>
          <a:p>
            <a:r>
              <a:rPr lang="nl-NL"/>
              <a:t>Titel</a:t>
            </a:r>
            <a:endParaRPr lang="nl-BE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F3EF43F9-C1BE-4A9F-B44B-5A3FC35C4C6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787" y="3562950"/>
            <a:ext cx="4137327" cy="1455738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pPr lvl="0"/>
            <a:r>
              <a:rPr lang="en-US"/>
              <a:t>ONDERTITEL</a:t>
            </a:r>
          </a:p>
        </p:txBody>
      </p:sp>
      <p:sp>
        <p:nvSpPr>
          <p:cNvPr id="17" name="Tijdelijke aanduiding voor dianummer 5">
            <a:extLst>
              <a:ext uri="{FF2B5EF4-FFF2-40B4-BE49-F238E27FC236}">
                <a16:creationId xmlns:a16="http://schemas.microsoft.com/office/drawing/2014/main" id="{30DBCDA1-1C65-4A71-BA42-55F5DD4C58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14012" y="6344982"/>
            <a:ext cx="838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 b="1">
                <a:noFill/>
                <a:latin typeface="+mj-lt"/>
              </a:defRPr>
            </a:lvl1pPr>
          </a:lstStyle>
          <a:p>
            <a:fld id="{1EABE038-A425-4CC0-917A-1DC3ED725B2E}" type="slidenum">
              <a:rPr lang="nl-BE" smtClean="0"/>
              <a:pPr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363737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81AF5F86-7557-4EB3-B860-8DAC55C23C7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198976" y="0"/>
            <a:ext cx="8993024" cy="6858000"/>
          </a:xfrm>
          <a:custGeom>
            <a:avLst/>
            <a:gdLst>
              <a:gd name="connsiteX0" fmla="*/ 7067804 w 8993024"/>
              <a:gd name="connsiteY0" fmla="*/ 2668882 h 6858000"/>
              <a:gd name="connsiteX1" fmla="*/ 6825995 w 8993024"/>
              <a:gd name="connsiteY1" fmla="*/ 3007187 h 6858000"/>
              <a:gd name="connsiteX2" fmla="*/ 7427808 w 8993024"/>
              <a:gd name="connsiteY2" fmla="*/ 3428285 h 6858000"/>
              <a:gd name="connsiteX3" fmla="*/ 6824567 w 8993024"/>
              <a:gd name="connsiteY3" fmla="*/ 3850809 h 6858000"/>
              <a:gd name="connsiteX4" fmla="*/ 7064950 w 8993024"/>
              <a:gd name="connsiteY4" fmla="*/ 4189115 h 6858000"/>
              <a:gd name="connsiteX5" fmla="*/ 8153237 w 8993024"/>
              <a:gd name="connsiteY5" fmla="*/ 3428285 h 6858000"/>
              <a:gd name="connsiteX6" fmla="*/ 13151 w 8993024"/>
              <a:gd name="connsiteY6" fmla="*/ 0 h 6858000"/>
              <a:gd name="connsiteX7" fmla="*/ 6458768 w 8993024"/>
              <a:gd name="connsiteY7" fmla="*/ 0 h 6858000"/>
              <a:gd name="connsiteX8" fmla="*/ 8993024 w 8993024"/>
              <a:gd name="connsiteY8" fmla="*/ 1773045 h 6858000"/>
              <a:gd name="connsiteX9" fmla="*/ 8993024 w 8993024"/>
              <a:gd name="connsiteY9" fmla="*/ 5071039 h 6858000"/>
              <a:gd name="connsiteX10" fmla="*/ 6436968 w 8993024"/>
              <a:gd name="connsiteY10" fmla="*/ 6858000 h 6858000"/>
              <a:gd name="connsiteX11" fmla="*/ 0 w 8993024"/>
              <a:gd name="connsiteY11" fmla="*/ 6858000 h 6858000"/>
              <a:gd name="connsiteX12" fmla="*/ 4113308 w 8993024"/>
              <a:gd name="connsiteY12" fmla="*/ 3976936 h 6858000"/>
              <a:gd name="connsiteX13" fmla="*/ 3939451 w 8993024"/>
              <a:gd name="connsiteY13" fmla="*/ 4454621 h 6858000"/>
              <a:gd name="connsiteX14" fmla="*/ 4330572 w 8993024"/>
              <a:gd name="connsiteY14" fmla="*/ 4597366 h 6858000"/>
              <a:gd name="connsiteX15" fmla="*/ 4708157 w 8993024"/>
              <a:gd name="connsiteY15" fmla="*/ 3560289 h 6858000"/>
              <a:gd name="connsiteX16" fmla="*/ 4904654 w 8993024"/>
              <a:gd name="connsiteY16" fmla="*/ 3422658 h 6858000"/>
              <a:gd name="connsiteX17" fmla="*/ 4787988 w 8993024"/>
              <a:gd name="connsiteY17" fmla="*/ 3341024 h 6858000"/>
              <a:gd name="connsiteX18" fmla="*/ 5129372 w 8993024"/>
              <a:gd name="connsiteY18" fmla="*/ 2403378 h 6858000"/>
              <a:gd name="connsiteX19" fmla="*/ 4737966 w 8993024"/>
              <a:gd name="connsiteY19" fmla="*/ 2260633 h 6858000"/>
              <a:gd name="connsiteX20" fmla="*/ 4434717 w 8993024"/>
              <a:gd name="connsiteY20" fmla="*/ 309383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8993024" h="6858000">
                <a:moveTo>
                  <a:pt x="7067804" y="2668882"/>
                </a:moveTo>
                <a:lnTo>
                  <a:pt x="6825995" y="3007187"/>
                </a:lnTo>
                <a:lnTo>
                  <a:pt x="7427808" y="3428285"/>
                </a:lnTo>
                <a:lnTo>
                  <a:pt x="6824567" y="3850809"/>
                </a:lnTo>
                <a:lnTo>
                  <a:pt x="7064950" y="4189115"/>
                </a:lnTo>
                <a:lnTo>
                  <a:pt x="8153237" y="3428285"/>
                </a:lnTo>
                <a:close/>
                <a:moveTo>
                  <a:pt x="13151" y="0"/>
                </a:moveTo>
                <a:lnTo>
                  <a:pt x="6458768" y="0"/>
                </a:lnTo>
                <a:lnTo>
                  <a:pt x="8993024" y="1773045"/>
                </a:lnTo>
                <a:lnTo>
                  <a:pt x="8993024" y="5071039"/>
                </a:lnTo>
                <a:lnTo>
                  <a:pt x="6436968" y="6858000"/>
                </a:lnTo>
                <a:lnTo>
                  <a:pt x="0" y="6858000"/>
                </a:lnTo>
                <a:lnTo>
                  <a:pt x="4113308" y="3976936"/>
                </a:lnTo>
                <a:lnTo>
                  <a:pt x="3939451" y="4454621"/>
                </a:lnTo>
                <a:lnTo>
                  <a:pt x="4330572" y="4597366"/>
                </a:lnTo>
                <a:lnTo>
                  <a:pt x="4708157" y="3560289"/>
                </a:lnTo>
                <a:lnTo>
                  <a:pt x="4904654" y="3422658"/>
                </a:lnTo>
                <a:lnTo>
                  <a:pt x="4787988" y="3341024"/>
                </a:lnTo>
                <a:lnTo>
                  <a:pt x="5129372" y="2403378"/>
                </a:lnTo>
                <a:lnTo>
                  <a:pt x="4737966" y="2260633"/>
                </a:lnTo>
                <a:lnTo>
                  <a:pt x="4434717" y="3093836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/>
          <a:p>
            <a:r>
              <a:rPr lang="nl-NL"/>
              <a:t>Klik op het pictogram als u een afbeelding wilt toevoegen</a:t>
            </a:r>
            <a:endParaRPr lang="nl-B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86D4B86-8480-40A8-8A0F-71E1A4A7D5C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5568265"/>
            <a:ext cx="3452400" cy="8676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nl-BE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D7A1FC-C9B7-4EF4-8B3E-1788213793E2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839787" y="1466457"/>
            <a:ext cx="4137327" cy="2071868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4800" b="1">
                <a:solidFill>
                  <a:schemeClr val="tx1"/>
                </a:solidFill>
              </a:defRPr>
            </a:lvl1pPr>
          </a:lstStyle>
          <a:p>
            <a:r>
              <a:rPr lang="nl-NL"/>
              <a:t>Titel</a:t>
            </a:r>
            <a:endParaRPr lang="nl-BE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F3EF43F9-C1BE-4A9F-B44B-5A3FC35C4C6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39787" y="3562950"/>
            <a:ext cx="4137327" cy="1455738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pPr lvl="0"/>
            <a:r>
              <a:rPr lang="en-US"/>
              <a:t>ONDERTITEL</a:t>
            </a:r>
          </a:p>
        </p:txBody>
      </p:sp>
      <p:sp>
        <p:nvSpPr>
          <p:cNvPr id="17" name="Tijdelijke aanduiding voor dianummer 5">
            <a:extLst>
              <a:ext uri="{FF2B5EF4-FFF2-40B4-BE49-F238E27FC236}">
                <a16:creationId xmlns:a16="http://schemas.microsoft.com/office/drawing/2014/main" id="{30DBCDA1-1C65-4A71-BA42-55F5DD4C5826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0514012" y="6344982"/>
            <a:ext cx="838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 b="1">
                <a:noFill/>
                <a:latin typeface="+mj-lt"/>
              </a:defRPr>
            </a:lvl1pPr>
          </a:lstStyle>
          <a:p>
            <a:fld id="{1EABE038-A425-4CC0-917A-1DC3ED725B2E}" type="slidenum">
              <a:rPr lang="nl-BE" smtClean="0"/>
              <a:pPr/>
              <a:t>‹nr.›</a:t>
            </a:fld>
            <a:endParaRPr lang="nl-BE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CF89028-B8A9-432B-AEE4-522BF661546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524268" y="2260633"/>
            <a:ext cx="5827945" cy="2336733"/>
            <a:chOff x="5283199" y="2561298"/>
            <a:chExt cx="5764429" cy="2311266"/>
          </a:xfrm>
          <a:solidFill>
            <a:schemeClr val="accent1"/>
          </a:solidFill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3944ABF9-A922-41DB-B40E-FBED7DDC28D8}"/>
                </a:ext>
              </a:extLst>
            </p:cNvPr>
            <p:cNvSpPr/>
            <p:nvPr/>
          </p:nvSpPr>
          <p:spPr>
            <a:xfrm>
              <a:off x="5283199" y="2561298"/>
              <a:ext cx="2773520" cy="2311266"/>
            </a:xfrm>
            <a:custGeom>
              <a:avLst/>
              <a:gdLst>
                <a:gd name="connsiteX0" fmla="*/ 2773520 w 2773520"/>
                <a:gd name="connsiteY0" fmla="*/ 141189 h 2311266"/>
                <a:gd name="connsiteX1" fmla="*/ 1983425 w 2773520"/>
                <a:gd name="connsiteY1" fmla="*/ 2311266 h 2311266"/>
                <a:gd name="connsiteX2" fmla="*/ 1596567 w 2773520"/>
                <a:gd name="connsiteY2" fmla="*/ 2170077 h 2311266"/>
                <a:gd name="connsiteX3" fmla="*/ 2386380 w 2773520"/>
                <a:gd name="connsiteY3" fmla="*/ 0 h 2311266"/>
                <a:gd name="connsiteX4" fmla="*/ 2773520 w 2773520"/>
                <a:gd name="connsiteY4" fmla="*/ 141189 h 2311266"/>
                <a:gd name="connsiteX5" fmla="*/ 1073603 w 2773520"/>
                <a:gd name="connsiteY5" fmla="*/ 497268 h 2311266"/>
                <a:gd name="connsiteX6" fmla="*/ 1312777 w 2773520"/>
                <a:gd name="connsiteY6" fmla="*/ 831886 h 2311266"/>
                <a:gd name="connsiteX7" fmla="*/ 717523 w 2773520"/>
                <a:gd name="connsiteY7" fmla="*/ 1248394 h 2311266"/>
                <a:gd name="connsiteX8" fmla="*/ 1314189 w 2773520"/>
                <a:gd name="connsiteY8" fmla="*/ 1666314 h 2311266"/>
                <a:gd name="connsiteX9" fmla="*/ 1076426 w 2773520"/>
                <a:gd name="connsiteY9" fmla="*/ 2000933 h 2311266"/>
                <a:gd name="connsiteX10" fmla="*/ 0 w 2773520"/>
                <a:gd name="connsiteY10" fmla="*/ 1248394 h 2311266"/>
                <a:gd name="connsiteX11" fmla="*/ 1073603 w 2773520"/>
                <a:gd name="connsiteY11" fmla="*/ 497268 h 2311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73520" h="2311266">
                  <a:moveTo>
                    <a:pt x="2773520" y="141189"/>
                  </a:moveTo>
                  <a:lnTo>
                    <a:pt x="1983425" y="2311266"/>
                  </a:lnTo>
                  <a:lnTo>
                    <a:pt x="1596567" y="2170077"/>
                  </a:lnTo>
                  <a:lnTo>
                    <a:pt x="2386380" y="0"/>
                  </a:lnTo>
                  <a:lnTo>
                    <a:pt x="2773520" y="141189"/>
                  </a:lnTo>
                  <a:close/>
                  <a:moveTo>
                    <a:pt x="1073603" y="497268"/>
                  </a:moveTo>
                  <a:lnTo>
                    <a:pt x="1312777" y="831886"/>
                  </a:lnTo>
                  <a:lnTo>
                    <a:pt x="717523" y="1248394"/>
                  </a:lnTo>
                  <a:lnTo>
                    <a:pt x="1314189" y="1666314"/>
                  </a:lnTo>
                  <a:lnTo>
                    <a:pt x="1076426" y="2000933"/>
                  </a:lnTo>
                  <a:lnTo>
                    <a:pt x="0" y="1248394"/>
                  </a:lnTo>
                  <a:lnTo>
                    <a:pt x="1073603" y="497268"/>
                  </a:lnTo>
                  <a:close/>
                </a:path>
              </a:pathLst>
            </a:custGeom>
            <a:grpFill/>
            <a:ln w="282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1200" cap="none" spc="0" normalizeH="0" baseline="0" noProof="0">
                <a:ln>
                  <a:noFill/>
                </a:ln>
                <a:solidFill>
                  <a:srgbClr val="373636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8BDB72BE-4888-426D-ADA2-4D09ADA71B98}"/>
                </a:ext>
              </a:extLst>
            </p:cNvPr>
            <p:cNvSpPr/>
            <p:nvPr/>
          </p:nvSpPr>
          <p:spPr>
            <a:xfrm>
              <a:off x="9733439" y="2965098"/>
              <a:ext cx="1314189" cy="1503664"/>
            </a:xfrm>
            <a:custGeom>
              <a:avLst/>
              <a:gdLst>
                <a:gd name="connsiteX0" fmla="*/ 0 w 1314189"/>
                <a:gd name="connsiteY0" fmla="*/ 1169046 h 1503664"/>
                <a:gd name="connsiteX1" fmla="*/ 596666 w 1314189"/>
                <a:gd name="connsiteY1" fmla="*/ 751126 h 1503664"/>
                <a:gd name="connsiteX2" fmla="*/ 1412 w 1314189"/>
                <a:gd name="connsiteY2" fmla="*/ 334618 h 1503664"/>
                <a:gd name="connsiteX3" fmla="*/ 240586 w 1314189"/>
                <a:gd name="connsiteY3" fmla="*/ 0 h 1503664"/>
                <a:gd name="connsiteX4" fmla="*/ 1314189 w 1314189"/>
                <a:gd name="connsiteY4" fmla="*/ 751126 h 1503664"/>
                <a:gd name="connsiteX5" fmla="*/ 237763 w 1314189"/>
                <a:gd name="connsiteY5" fmla="*/ 1503665 h 1503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14189" h="1503664">
                  <a:moveTo>
                    <a:pt x="0" y="1169046"/>
                  </a:moveTo>
                  <a:lnTo>
                    <a:pt x="596666" y="751126"/>
                  </a:lnTo>
                  <a:lnTo>
                    <a:pt x="1412" y="334618"/>
                  </a:lnTo>
                  <a:lnTo>
                    <a:pt x="240586" y="0"/>
                  </a:lnTo>
                  <a:lnTo>
                    <a:pt x="1314189" y="751126"/>
                  </a:lnTo>
                  <a:lnTo>
                    <a:pt x="237763" y="1503665"/>
                  </a:lnTo>
                  <a:close/>
                </a:path>
              </a:pathLst>
            </a:custGeom>
            <a:grpFill/>
            <a:ln w="282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1200" cap="none" spc="0" normalizeH="0" baseline="0" noProof="0">
                <a:ln>
                  <a:noFill/>
                </a:ln>
                <a:solidFill>
                  <a:srgbClr val="373636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41803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dianummer 5">
            <a:extLst>
              <a:ext uri="{FF2B5EF4-FFF2-40B4-BE49-F238E27FC236}">
                <a16:creationId xmlns:a16="http://schemas.microsoft.com/office/drawing/2014/main" id="{47D6E984-9E7D-4BA3-B3F3-986CC7F1D6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14012" y="6344982"/>
            <a:ext cx="838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 b="1">
                <a:noFill/>
                <a:latin typeface="+mj-lt"/>
              </a:defRPr>
            </a:lvl1pPr>
          </a:lstStyle>
          <a:p>
            <a:fld id="{1EABE038-A425-4CC0-917A-1DC3ED725B2E}" type="slidenum">
              <a:rPr lang="nl-BE" smtClean="0"/>
              <a:pPr/>
              <a:t>‹nr.›</a:t>
            </a:fld>
            <a:endParaRPr lang="nl-BE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869AC77-F5E2-4205-93FD-B5CEDCE245C5}"/>
              </a:ext>
            </a:extLst>
          </p:cNvPr>
          <p:cNvSpPr/>
          <p:nvPr userDrawn="1"/>
        </p:nvSpPr>
        <p:spPr>
          <a:xfrm>
            <a:off x="0" y="0"/>
            <a:ext cx="8237622" cy="6857999"/>
          </a:xfrm>
          <a:custGeom>
            <a:avLst/>
            <a:gdLst>
              <a:gd name="connsiteX0" fmla="*/ 0 w 8237622"/>
              <a:gd name="connsiteY0" fmla="*/ 0 h 6857999"/>
              <a:gd name="connsiteX1" fmla="*/ 5883438 w 8237622"/>
              <a:gd name="connsiteY1" fmla="*/ 0 h 6857999"/>
              <a:gd name="connsiteX2" fmla="*/ 8237622 w 8237622"/>
              <a:gd name="connsiteY2" fmla="*/ 6857999 h 6857999"/>
              <a:gd name="connsiteX3" fmla="*/ 0 w 8237622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37622" h="6857999">
                <a:moveTo>
                  <a:pt x="0" y="0"/>
                </a:moveTo>
                <a:lnTo>
                  <a:pt x="5883438" y="0"/>
                </a:lnTo>
                <a:lnTo>
                  <a:pt x="8237622" y="6857999"/>
                </a:lnTo>
                <a:lnTo>
                  <a:pt x="0" y="6857999"/>
                </a:lnTo>
                <a:close/>
              </a:path>
            </a:pathLst>
          </a:custGeom>
          <a:solidFill>
            <a:srgbClr val="FF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824B98A-4944-4791-8FF5-6261333FFD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883520" y="237"/>
            <a:ext cx="6308480" cy="6857762"/>
          </a:xfrm>
          <a:custGeom>
            <a:avLst/>
            <a:gdLst>
              <a:gd name="connsiteX0" fmla="*/ 0 w 6308480"/>
              <a:gd name="connsiteY0" fmla="*/ 0 h 6857762"/>
              <a:gd name="connsiteX1" fmla="*/ 6300924 w 6308480"/>
              <a:gd name="connsiteY1" fmla="*/ 2727 h 6857762"/>
              <a:gd name="connsiteX2" fmla="*/ 6308480 w 6308480"/>
              <a:gd name="connsiteY2" fmla="*/ 6857762 h 6857762"/>
              <a:gd name="connsiteX3" fmla="*/ 2354102 w 6308480"/>
              <a:gd name="connsiteY3" fmla="*/ 6857762 h 685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08480" h="6857762">
                <a:moveTo>
                  <a:pt x="0" y="0"/>
                </a:moveTo>
                <a:lnTo>
                  <a:pt x="6300924" y="2727"/>
                </a:lnTo>
                <a:cubicBezTo>
                  <a:pt x="6303442" y="2283102"/>
                  <a:pt x="6305962" y="4577387"/>
                  <a:pt x="6308480" y="6857762"/>
                </a:cubicBezTo>
                <a:lnTo>
                  <a:pt x="2354102" y="6857762"/>
                </a:ln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err="1"/>
              <a:t>Klik</a:t>
            </a:r>
            <a:r>
              <a:rPr lang="en-US"/>
              <a:t> op </a:t>
            </a:r>
            <a:r>
              <a:rPr lang="en-US" err="1"/>
              <a:t>icoon</a:t>
            </a:r>
            <a:r>
              <a:rPr lang="en-US"/>
              <a:t> </a:t>
            </a:r>
            <a:r>
              <a:rPr lang="en-US" err="1"/>
              <a:t>voor</a:t>
            </a:r>
            <a:r>
              <a:rPr lang="en-US"/>
              <a:t> </a:t>
            </a:r>
            <a:r>
              <a:rPr lang="en-US" err="1"/>
              <a:t>foto</a:t>
            </a:r>
            <a:r>
              <a:rPr lang="en-US"/>
              <a:t> (min </a:t>
            </a:r>
            <a:r>
              <a:rPr lang="nl-BE"/>
              <a:t>resolutie </a:t>
            </a:r>
            <a:r>
              <a:rPr lang="en-US"/>
              <a:t>72 DPI</a:t>
            </a:r>
            <a:r>
              <a:rPr lang="nl-BE"/>
              <a:t>)</a:t>
            </a:r>
          </a:p>
        </p:txBody>
      </p:sp>
      <p:pic>
        <p:nvPicPr>
          <p:cNvPr id="11" name="Picture 10" descr="A picture containing text&#10;&#10;Description automatically generated">
            <a:extLst>
              <a:ext uri="{FF2B5EF4-FFF2-40B4-BE49-F238E27FC236}">
                <a16:creationId xmlns:a16="http://schemas.microsoft.com/office/drawing/2014/main" id="{3901EBF6-9C92-4604-B424-1D155695A70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298" y="4981050"/>
            <a:ext cx="5376684" cy="1353315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AA6B26EB-8EC5-48E2-BD48-A8DC394BE7A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9789" y="1258113"/>
            <a:ext cx="5256212" cy="2071868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4800" b="1">
                <a:solidFill>
                  <a:schemeClr val="tx1"/>
                </a:solidFill>
              </a:defRPr>
            </a:lvl1pPr>
          </a:lstStyle>
          <a:p>
            <a:r>
              <a:rPr lang="nl-NL"/>
              <a:t>Titel</a:t>
            </a:r>
            <a:endParaRPr lang="nl-BE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6F182A54-4BEE-4AF0-9435-44D0360326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9789" y="3354606"/>
            <a:ext cx="5256212" cy="1455738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ONDERTITEL</a:t>
            </a:r>
          </a:p>
        </p:txBody>
      </p:sp>
    </p:spTree>
    <p:extLst>
      <p:ext uri="{BB962C8B-B14F-4D97-AF65-F5344CB8AC3E}">
        <p14:creationId xmlns:p14="http://schemas.microsoft.com/office/powerpoint/2010/main" val="3609899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ssenTitel + F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afbeelding 5">
            <a:extLst>
              <a:ext uri="{FF2B5EF4-FFF2-40B4-BE49-F238E27FC236}">
                <a16:creationId xmlns:a16="http://schemas.microsoft.com/office/drawing/2014/main" id="{CB5FAE03-95F2-4223-8FC6-421130D4435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39061" y="0"/>
            <a:ext cx="11952939" cy="6858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67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err="1"/>
              <a:t>Klik</a:t>
            </a:r>
            <a:r>
              <a:rPr lang="en-US"/>
              <a:t> op </a:t>
            </a:r>
            <a:r>
              <a:rPr lang="en-US" err="1"/>
              <a:t>icoon</a:t>
            </a:r>
            <a:r>
              <a:rPr lang="en-US"/>
              <a:t> </a:t>
            </a:r>
            <a:r>
              <a:rPr lang="en-US" err="1"/>
              <a:t>voor</a:t>
            </a:r>
            <a:r>
              <a:rPr lang="en-US"/>
              <a:t> </a:t>
            </a:r>
            <a:r>
              <a:rPr lang="en-US" err="1"/>
              <a:t>foto</a:t>
            </a:r>
            <a:r>
              <a:rPr lang="en-US"/>
              <a:t> (min </a:t>
            </a:r>
            <a:r>
              <a:rPr lang="nl-BE"/>
              <a:t>resolutie </a:t>
            </a:r>
            <a:r>
              <a:rPr lang="en-US"/>
              <a:t>72 DPI</a:t>
            </a:r>
            <a:r>
              <a:rPr lang="nl-BE"/>
              <a:t>)</a:t>
            </a:r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9BFD846F-A868-446F-BAFF-61F80655D1C2}"/>
              </a:ext>
            </a:extLst>
          </p:cNvPr>
          <p:cNvSpPr/>
          <p:nvPr userDrawn="1"/>
        </p:nvSpPr>
        <p:spPr>
          <a:xfrm>
            <a:off x="1" y="0"/>
            <a:ext cx="239059" cy="6858000"/>
          </a:xfrm>
          <a:prstGeom prst="rect">
            <a:avLst/>
          </a:prstGeom>
          <a:solidFill>
            <a:srgbClr val="FF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2400"/>
          </a:p>
        </p:txBody>
      </p:sp>
      <p:sp>
        <p:nvSpPr>
          <p:cNvPr id="5" name="Tijdelijke aanduiding voor dianummer 5">
            <a:extLst>
              <a:ext uri="{FF2B5EF4-FFF2-40B4-BE49-F238E27FC236}">
                <a16:creationId xmlns:a16="http://schemas.microsoft.com/office/drawing/2014/main" id="{DFAF4955-2C26-4D99-A507-76ED35E0B5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14012" y="6344982"/>
            <a:ext cx="838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 b="1">
                <a:noFill/>
                <a:latin typeface="+mj-lt"/>
              </a:defRPr>
            </a:lvl1pPr>
          </a:lstStyle>
          <a:p>
            <a:fld id="{1EABE038-A425-4CC0-917A-1DC3ED725B2E}" type="slidenum">
              <a:rPr lang="nl-BE" smtClean="0"/>
              <a:pPr/>
              <a:t>‹nr.›</a:t>
            </a:fld>
            <a:endParaRPr lang="nl-BE"/>
          </a:p>
        </p:txBody>
      </p:sp>
      <p:sp>
        <p:nvSpPr>
          <p:cNvPr id="3" name="Tijdelijke aanduiding voor tekst 3">
            <a:extLst>
              <a:ext uri="{FF2B5EF4-FFF2-40B4-BE49-F238E27FC236}">
                <a16:creationId xmlns:a16="http://schemas.microsoft.com/office/drawing/2014/main" id="{C3CEDB31-424E-4E78-B055-9D8DABF577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6401" y="4358640"/>
            <a:ext cx="7065601" cy="1372769"/>
          </a:xfrm>
          <a:solidFill>
            <a:srgbClr val="FFEB00"/>
          </a:solidFill>
        </p:spPr>
        <p:txBody>
          <a:bodyPr lIns="216000" tIns="216000" rIns="792000" bIns="216000" anchor="ctr">
            <a:norm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buFontTx/>
              <a:buNone/>
              <a:defRPr lang="nl-NL" sz="4800" b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0" indent="0" algn="l" defTabSz="914377" rtl="0" eaLnBrk="1" latinLnBrk="0" hangingPunct="1">
              <a:buFontTx/>
              <a:buNone/>
              <a:defRPr lang="nl-NL" sz="3733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7" rtl="0" eaLnBrk="1" latinLnBrk="0" hangingPunct="1">
              <a:buFontTx/>
              <a:buNone/>
              <a:defRPr lang="nl-NL" sz="3733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77" rtl="0" eaLnBrk="1" latinLnBrk="0" hangingPunct="1">
              <a:buFontTx/>
              <a:buNone/>
              <a:defRPr lang="nl-NL" sz="3733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77" rtl="0" eaLnBrk="1" latinLnBrk="0" hangingPunct="1">
              <a:buFontTx/>
              <a:buNone/>
              <a:defRPr lang="nl-BE" sz="37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nl-NL"/>
              <a:t>Subtitel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888824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ssenTitel Patro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CBFC7578-D2D4-4FD7-94D4-249E9425DBA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-2" y="1"/>
            <a:ext cx="12192003" cy="6858000"/>
            <a:chOff x="705255" y="97277"/>
            <a:chExt cx="5836597" cy="3283085"/>
          </a:xfrm>
          <a:noFill/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57D20F1A-942E-467D-8FEB-0AB9D32F865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rcRect l="45731" t="42477" r="51216" b="51808"/>
            <a:stretch/>
          </p:blipFill>
          <p:spPr>
            <a:xfrm>
              <a:off x="705255" y="97277"/>
              <a:ext cx="5836597" cy="3283084"/>
            </a:xfrm>
            <a:prstGeom prst="rect">
              <a:avLst/>
            </a:prstGeom>
          </p:spPr>
        </p:pic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EF2BBE1E-1590-446B-8050-39CE8A2F4E2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l="48318" t="42477" r="48629" b="51808"/>
            <a:stretch/>
          </p:blipFill>
          <p:spPr>
            <a:xfrm flipH="1">
              <a:off x="705255" y="97277"/>
              <a:ext cx="5836597" cy="3283085"/>
            </a:xfrm>
            <a:prstGeom prst="rect">
              <a:avLst/>
            </a:prstGeom>
          </p:spPr>
        </p:pic>
      </p:grpSp>
      <p:sp>
        <p:nvSpPr>
          <p:cNvPr id="3" name="Tijdelijke aanduiding voor tekst 3">
            <a:extLst>
              <a:ext uri="{FF2B5EF4-FFF2-40B4-BE49-F238E27FC236}">
                <a16:creationId xmlns:a16="http://schemas.microsoft.com/office/drawing/2014/main" id="{C3CEDB31-424E-4E78-B055-9D8DABF577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6401" y="4358640"/>
            <a:ext cx="7065601" cy="1372769"/>
          </a:xfrm>
          <a:solidFill>
            <a:srgbClr val="FFEB00"/>
          </a:solidFill>
        </p:spPr>
        <p:txBody>
          <a:bodyPr lIns="216000" tIns="216000" rIns="792000" bIns="216000" anchor="ctr">
            <a:norm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buFontTx/>
              <a:buNone/>
              <a:defRPr lang="nl-NL" sz="4800" b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0" indent="0" algn="l" defTabSz="914377" rtl="0" eaLnBrk="1" latinLnBrk="0" hangingPunct="1">
              <a:buFontTx/>
              <a:buNone/>
              <a:defRPr lang="nl-NL" sz="3733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7" rtl="0" eaLnBrk="1" latinLnBrk="0" hangingPunct="1">
              <a:buFontTx/>
              <a:buNone/>
              <a:defRPr lang="nl-NL" sz="3733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77" rtl="0" eaLnBrk="1" latinLnBrk="0" hangingPunct="1">
              <a:buFontTx/>
              <a:buNone/>
              <a:defRPr lang="nl-NL" sz="3733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77" rtl="0" eaLnBrk="1" latinLnBrk="0" hangingPunct="1">
              <a:buFontTx/>
              <a:buNone/>
              <a:defRPr lang="nl-BE" sz="37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nl-NL"/>
              <a:t>Subtitel</a:t>
            </a:r>
            <a:endParaRPr lang="nl-BE"/>
          </a:p>
        </p:txBody>
      </p:sp>
      <p:sp>
        <p:nvSpPr>
          <p:cNvPr id="6" name="Rechthoek 6">
            <a:extLst>
              <a:ext uri="{FF2B5EF4-FFF2-40B4-BE49-F238E27FC236}">
                <a16:creationId xmlns:a16="http://schemas.microsoft.com/office/drawing/2014/main" id="{E423B54A-434E-4870-B2F2-5857F82B4E2C}"/>
              </a:ext>
            </a:extLst>
          </p:cNvPr>
          <p:cNvSpPr/>
          <p:nvPr userDrawn="1"/>
        </p:nvSpPr>
        <p:spPr>
          <a:xfrm>
            <a:off x="0" y="0"/>
            <a:ext cx="219456" cy="6858000"/>
          </a:xfrm>
          <a:prstGeom prst="rect">
            <a:avLst/>
          </a:prstGeom>
          <a:solidFill>
            <a:srgbClr val="FF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7" name="Tijdelijke aanduiding voor dianummer 5">
            <a:extLst>
              <a:ext uri="{FF2B5EF4-FFF2-40B4-BE49-F238E27FC236}">
                <a16:creationId xmlns:a16="http://schemas.microsoft.com/office/drawing/2014/main" id="{EC89C4FA-B0E4-4823-BF2A-0719B05069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14012" y="6344982"/>
            <a:ext cx="838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 b="1">
                <a:noFill/>
                <a:latin typeface="+mj-lt"/>
              </a:defRPr>
            </a:lvl1pPr>
          </a:lstStyle>
          <a:p>
            <a:fld id="{1EABE038-A425-4CC0-917A-1DC3ED725B2E}" type="slidenum">
              <a:rPr lang="nl-BE" smtClean="0"/>
              <a:pPr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962703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Inh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D12BA3-1A59-4106-AB0B-121C907F47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9C52538-1FF6-4A48-B824-17232198D1B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447F7F-BD98-45A3-9CB5-738FC09F80F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ABE038-A425-4CC0-917A-1DC3ED725B2E}" type="slidenum">
              <a:rPr lang="nl-BE" smtClean="0"/>
              <a:pPr/>
              <a:t>‹nr.›</a:t>
            </a:fld>
            <a:endParaRPr lang="nl-BE"/>
          </a:p>
        </p:txBody>
      </p:sp>
      <p:sp>
        <p:nvSpPr>
          <p:cNvPr id="5" name="Tijdelijke aanduiding voor tekst 2">
            <a:extLst>
              <a:ext uri="{FF2B5EF4-FFF2-40B4-BE49-F238E27FC236}">
                <a16:creationId xmlns:a16="http://schemas.microsoft.com/office/drawing/2014/main" id="{7BE2456B-919F-4C28-B6F2-477203DFDD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92263"/>
            <a:ext cx="10515600" cy="458470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113118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Boventitel + Inh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0088BA-50E3-453A-B4A0-8CCF8ED49B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6612" y="736352"/>
            <a:ext cx="10515600" cy="703511"/>
          </a:xfrm>
          <a:prstGeom prst="rect">
            <a:avLst/>
          </a:prstGeom>
        </p:spPr>
        <p:txBody>
          <a:bodyPr anchor="t"/>
          <a:lstStyle>
            <a:lvl1pPr>
              <a:defRPr/>
            </a:lvl1pPr>
          </a:lstStyle>
          <a:p>
            <a:r>
              <a:rPr lang="nl-NL"/>
              <a:t>Hoofdtitel</a:t>
            </a:r>
            <a:endParaRPr lang="nl-BE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39A00E47-68C0-4DBD-AB0F-CD7342B025E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592263"/>
            <a:ext cx="10515600" cy="4584700"/>
          </a:xfrm>
        </p:spPr>
        <p:txBody>
          <a:bodyPr/>
          <a:lstStyle>
            <a:lvl1pPr>
              <a:defRPr u="none"/>
            </a:lvl1pPr>
          </a:lstStyle>
          <a:p>
            <a:pPr lvl="0"/>
            <a:r>
              <a:rPr lang="nl-NL"/>
              <a:t>Eerste niveau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4EBF8E1-91F2-4E4B-AF7C-1A2084AB5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EA04B5B-B226-4E77-B512-C407B06E7A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ABE038-A425-4CC0-917A-1DC3ED725B2E}" type="slidenum">
              <a:rPr lang="nl-BE" smtClean="0"/>
              <a:t>‹nr.›</a:t>
            </a:fld>
            <a:endParaRPr lang="nl-BE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6F45857B-E452-48F1-B0B6-4B82FEC46E0F}"/>
              </a:ext>
            </a:extLst>
          </p:cNvPr>
          <p:cNvSpPr/>
          <p:nvPr userDrawn="1"/>
        </p:nvSpPr>
        <p:spPr>
          <a:xfrm>
            <a:off x="0" y="0"/>
            <a:ext cx="219456" cy="6858000"/>
          </a:xfrm>
          <a:prstGeom prst="rect">
            <a:avLst/>
          </a:prstGeom>
          <a:solidFill>
            <a:srgbClr val="FF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2" name="Tijdelijke aanduiding voor tekst 9">
            <a:extLst>
              <a:ext uri="{FF2B5EF4-FFF2-40B4-BE49-F238E27FC236}">
                <a16:creationId xmlns:a16="http://schemas.microsoft.com/office/drawing/2014/main" id="{C8409B7C-6B97-4FAC-AD35-6F8F386B3CA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6612" y="368300"/>
            <a:ext cx="10515599" cy="368052"/>
          </a:xfrm>
        </p:spPr>
        <p:txBody>
          <a:bodyPr anchor="ctr">
            <a:normAutofit/>
          </a:bodyPr>
          <a:lstStyle>
            <a:lvl1pPr>
              <a:defRPr sz="2000" b="0" u="none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nl-BE"/>
              <a:t>BOVENTITEL</a:t>
            </a:r>
          </a:p>
        </p:txBody>
      </p:sp>
    </p:spTree>
    <p:extLst>
      <p:ext uri="{BB962C8B-B14F-4D97-AF65-F5344CB8AC3E}">
        <p14:creationId xmlns:p14="http://schemas.microsoft.com/office/powerpoint/2010/main" val="2604134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FBACB4-A827-476B-A480-75BFBEF64F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C9F335-3273-4667-AD8D-2C4BE24F148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EB5C17-7629-4682-8F5F-4423A21D77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ABE038-A425-4CC0-917A-1DC3ED725B2E}" type="slidenum">
              <a:rPr lang="nl-BE" smtClean="0"/>
              <a:pPr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460862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Bov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0088BA-50E3-453A-B4A0-8CCF8ED49B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6612" y="736352"/>
            <a:ext cx="10515600" cy="703511"/>
          </a:xfrm>
          <a:prstGeom prst="rect">
            <a:avLst/>
          </a:prstGeom>
        </p:spPr>
        <p:txBody>
          <a:bodyPr anchor="t"/>
          <a:lstStyle>
            <a:lvl1pPr>
              <a:defRPr/>
            </a:lvl1pPr>
          </a:lstStyle>
          <a:p>
            <a:r>
              <a:rPr lang="nl-NL"/>
              <a:t>Hoofdtitel</a:t>
            </a:r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4EBF8E1-91F2-4E4B-AF7C-1A2084AB5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EA04B5B-B226-4E77-B512-C407B06E7A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ABE038-A425-4CC0-917A-1DC3ED725B2E}" type="slidenum">
              <a:rPr lang="nl-BE" smtClean="0"/>
              <a:t>‹nr.›</a:t>
            </a:fld>
            <a:endParaRPr lang="nl-BE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6F45857B-E452-48F1-B0B6-4B82FEC46E0F}"/>
              </a:ext>
            </a:extLst>
          </p:cNvPr>
          <p:cNvSpPr/>
          <p:nvPr userDrawn="1"/>
        </p:nvSpPr>
        <p:spPr>
          <a:xfrm>
            <a:off x="0" y="0"/>
            <a:ext cx="219456" cy="6858000"/>
          </a:xfrm>
          <a:prstGeom prst="rect">
            <a:avLst/>
          </a:prstGeom>
          <a:solidFill>
            <a:srgbClr val="FF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2" name="Tijdelijke aanduiding voor tekst 9">
            <a:extLst>
              <a:ext uri="{FF2B5EF4-FFF2-40B4-BE49-F238E27FC236}">
                <a16:creationId xmlns:a16="http://schemas.microsoft.com/office/drawing/2014/main" id="{C8409B7C-6B97-4FAC-AD35-6F8F386B3CA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6612" y="368300"/>
            <a:ext cx="10515599" cy="368052"/>
          </a:xfrm>
        </p:spPr>
        <p:txBody>
          <a:bodyPr anchor="ctr">
            <a:normAutofit/>
          </a:bodyPr>
          <a:lstStyle>
            <a:lvl1pPr>
              <a:defRPr sz="2000" b="0" u="none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nl-BE"/>
              <a:t>BOVENTITEL</a:t>
            </a:r>
          </a:p>
        </p:txBody>
      </p:sp>
    </p:spTree>
    <p:extLst>
      <p:ext uri="{BB962C8B-B14F-4D97-AF65-F5344CB8AC3E}">
        <p14:creationId xmlns:p14="http://schemas.microsoft.com/office/powerpoint/2010/main" val="3302120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Tussentitel + 2 Inhou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4EBF8E1-91F2-4E4B-AF7C-1A2084AB5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EA04B5B-B226-4E77-B512-C407B06E7A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ABE038-A425-4CC0-917A-1DC3ED725B2E}" type="slidenum">
              <a:rPr lang="nl-BE" smtClean="0"/>
              <a:t>‹nr.›</a:t>
            </a:fld>
            <a:endParaRPr lang="nl-BE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6F45857B-E452-48F1-B0B6-4B82FEC46E0F}"/>
              </a:ext>
            </a:extLst>
          </p:cNvPr>
          <p:cNvSpPr/>
          <p:nvPr userDrawn="1"/>
        </p:nvSpPr>
        <p:spPr>
          <a:xfrm>
            <a:off x="0" y="0"/>
            <a:ext cx="219456" cy="6858000"/>
          </a:xfrm>
          <a:prstGeom prst="rect">
            <a:avLst/>
          </a:prstGeom>
          <a:solidFill>
            <a:srgbClr val="FF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8" name="Rechthoek 3">
            <a:extLst>
              <a:ext uri="{FF2B5EF4-FFF2-40B4-BE49-F238E27FC236}">
                <a16:creationId xmlns:a16="http://schemas.microsoft.com/office/drawing/2014/main" id="{23AF26AC-5CFB-4F6D-8A70-31DC3394C2C5}"/>
              </a:ext>
            </a:extLst>
          </p:cNvPr>
          <p:cNvSpPr/>
          <p:nvPr userDrawn="1"/>
        </p:nvSpPr>
        <p:spPr>
          <a:xfrm>
            <a:off x="839787" y="1592263"/>
            <a:ext cx="5049383" cy="46085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468000" rIns="180000" bIns="144000" rtlCol="0" anchor="t"/>
          <a:lstStyle/>
          <a:p>
            <a:pPr algn="ctr"/>
            <a:endParaRPr lang="nl-NL" sz="1600">
              <a:solidFill>
                <a:schemeClr val="tx1"/>
              </a:solidFill>
              <a:uFill>
                <a:solidFill>
                  <a:srgbClr val="FFE819"/>
                </a:solidFill>
              </a:uFill>
              <a:latin typeface="+mj-lt"/>
            </a:endParaRP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516FA6D-8E9F-4C9C-BA50-CC09DCED407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90250" y="1904789"/>
            <a:ext cx="4548456" cy="778234"/>
          </a:xfrm>
        </p:spPr>
        <p:txBody>
          <a:bodyPr anchor="b">
            <a:noAutofit/>
          </a:bodyPr>
          <a:lstStyle>
            <a:lvl1pPr marL="0" algn="ctr" defTabSz="914400" rtl="0" eaLnBrk="1" latinLnBrk="0" hangingPunct="1">
              <a:defRPr lang="en-US" sz="2400" b="1" kern="1200" dirty="0" smtClean="0">
                <a:solidFill>
                  <a:schemeClr val="tx2"/>
                </a:solidFill>
                <a:uFill>
                  <a:solidFill>
                    <a:srgbClr val="FFE819"/>
                  </a:solidFill>
                </a:u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870A25B-699D-4D15-BC83-0201815D2734}"/>
              </a:ext>
            </a:extLst>
          </p:cNvPr>
          <p:cNvSpPr/>
          <p:nvPr userDrawn="1"/>
        </p:nvSpPr>
        <p:spPr>
          <a:xfrm>
            <a:off x="3209867" y="2975201"/>
            <a:ext cx="309222" cy="7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+mj-lt"/>
            </a:endParaRP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566FEB3-9583-4476-870F-89701263214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89451" y="3339380"/>
            <a:ext cx="4550055" cy="2656800"/>
          </a:xfrm>
        </p:spPr>
        <p:txBody>
          <a:bodyPr>
            <a:noAutofit/>
          </a:bodyPr>
          <a:lstStyle>
            <a:lvl1pPr marL="230400" indent="-230400">
              <a:buFont typeface="Wingdings" panose="05000000000000000000" pitchFamily="2" charset="2"/>
              <a:buChar char="§"/>
              <a:defRPr sz="2000">
                <a:latin typeface="+mn-lt"/>
              </a:defRPr>
            </a:lvl1pPr>
            <a:lvl2pPr marL="460800">
              <a:defRPr/>
            </a:lvl2pPr>
            <a:lvl3pPr marL="691200">
              <a:defRPr/>
            </a:lvl3pPr>
            <a:lvl4pPr marL="921600">
              <a:defRPr/>
            </a:lvl4pPr>
            <a:lvl5pPr marL="1152000"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28" name="Rechthoek 3">
            <a:extLst>
              <a:ext uri="{FF2B5EF4-FFF2-40B4-BE49-F238E27FC236}">
                <a16:creationId xmlns:a16="http://schemas.microsoft.com/office/drawing/2014/main" id="{18679EBA-25DF-47AF-B66A-ADB4C0B50434}"/>
              </a:ext>
            </a:extLst>
          </p:cNvPr>
          <p:cNvSpPr/>
          <p:nvPr userDrawn="1"/>
        </p:nvSpPr>
        <p:spPr>
          <a:xfrm>
            <a:off x="6302830" y="1592263"/>
            <a:ext cx="5049383" cy="46085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468000" rIns="180000" bIns="144000" rtlCol="0" anchor="t"/>
          <a:lstStyle/>
          <a:p>
            <a:pPr algn="ctr"/>
            <a:endParaRPr lang="nl-NL" sz="1600">
              <a:solidFill>
                <a:schemeClr val="tx1"/>
              </a:solidFill>
              <a:uFill>
                <a:solidFill>
                  <a:srgbClr val="FFE819"/>
                </a:solidFill>
              </a:uFill>
              <a:latin typeface="+mj-lt"/>
            </a:endParaRPr>
          </a:p>
        </p:txBody>
      </p:sp>
      <p:sp>
        <p:nvSpPr>
          <p:cNvPr id="29" name="Text Placeholder 16">
            <a:extLst>
              <a:ext uri="{FF2B5EF4-FFF2-40B4-BE49-F238E27FC236}">
                <a16:creationId xmlns:a16="http://schemas.microsoft.com/office/drawing/2014/main" id="{7D3C742E-7030-4C09-A4E2-EE5560A92F6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553293" y="1904789"/>
            <a:ext cx="4548456" cy="778234"/>
          </a:xfrm>
        </p:spPr>
        <p:txBody>
          <a:bodyPr anchor="b">
            <a:noAutofit/>
          </a:bodyPr>
          <a:lstStyle>
            <a:lvl1pPr marL="0" algn="ctr" defTabSz="914400" rtl="0" eaLnBrk="1" latinLnBrk="0" hangingPunct="1">
              <a:defRPr lang="en-US" sz="2400" b="1" kern="1200" dirty="0" smtClean="0">
                <a:solidFill>
                  <a:schemeClr val="tx2"/>
                </a:solidFill>
                <a:uFill>
                  <a:solidFill>
                    <a:srgbClr val="FFE819"/>
                  </a:solidFill>
                </a:u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BCC130F-4C58-4918-8A26-AD95CBCEBBB9}"/>
              </a:ext>
            </a:extLst>
          </p:cNvPr>
          <p:cNvSpPr/>
          <p:nvPr userDrawn="1"/>
        </p:nvSpPr>
        <p:spPr>
          <a:xfrm>
            <a:off x="8672910" y="2975201"/>
            <a:ext cx="309222" cy="7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+mj-lt"/>
            </a:endParaRP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2319D7C0-B552-49BD-9175-92D787A5496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552494" y="3339380"/>
            <a:ext cx="4550055" cy="2656800"/>
          </a:xfrm>
        </p:spPr>
        <p:txBody>
          <a:bodyPr>
            <a:noAutofit/>
          </a:bodyPr>
          <a:lstStyle>
            <a:lvl1pPr marL="230400" indent="-230400">
              <a:buFont typeface="Wingdings" panose="05000000000000000000" pitchFamily="2" charset="2"/>
              <a:buChar char="§"/>
              <a:defRPr sz="2000">
                <a:latin typeface="+mn-lt"/>
              </a:defRPr>
            </a:lvl1pPr>
            <a:lvl2pPr marL="460800">
              <a:defRPr/>
            </a:lvl2pPr>
            <a:lvl3pPr marL="691200">
              <a:defRPr/>
            </a:lvl3pPr>
            <a:lvl4pPr marL="921600">
              <a:defRPr/>
            </a:lvl4pPr>
            <a:lvl5pPr marL="1152000"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B402254C-B322-4B4A-8A90-0B23A940D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6612" y="736352"/>
            <a:ext cx="10515600" cy="703511"/>
          </a:xfrm>
          <a:prstGeom prst="rect">
            <a:avLst/>
          </a:prstGeom>
        </p:spPr>
        <p:txBody>
          <a:bodyPr anchor="t"/>
          <a:lstStyle>
            <a:lvl1pPr>
              <a:defRPr/>
            </a:lvl1pPr>
          </a:lstStyle>
          <a:p>
            <a:r>
              <a:rPr lang="nl-NL"/>
              <a:t>Hoofdtitel</a:t>
            </a:r>
            <a:endParaRPr lang="nl-BE"/>
          </a:p>
        </p:txBody>
      </p:sp>
      <p:sp>
        <p:nvSpPr>
          <p:cNvPr id="17" name="Tijdelijke aanduiding voor tekst 9">
            <a:extLst>
              <a:ext uri="{FF2B5EF4-FFF2-40B4-BE49-F238E27FC236}">
                <a16:creationId xmlns:a16="http://schemas.microsoft.com/office/drawing/2014/main" id="{59EEA2BC-5754-457F-AE68-3991568A9F5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6612" y="368300"/>
            <a:ext cx="10515599" cy="368052"/>
          </a:xfrm>
        </p:spPr>
        <p:txBody>
          <a:bodyPr anchor="ctr">
            <a:normAutofit/>
          </a:bodyPr>
          <a:lstStyle>
            <a:lvl1pPr>
              <a:defRPr sz="2000" b="0" u="none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nl-BE"/>
              <a:t>BOVENTITEL</a:t>
            </a:r>
          </a:p>
        </p:txBody>
      </p:sp>
    </p:spTree>
    <p:extLst>
      <p:ext uri="{BB962C8B-B14F-4D97-AF65-F5344CB8AC3E}">
        <p14:creationId xmlns:p14="http://schemas.microsoft.com/office/powerpoint/2010/main" val="3933086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B_domein00_algemeen+lij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E5ED4797-6B38-4DEC-A43D-AF91CC36E67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0" y="0"/>
            <a:ext cx="1747930" cy="6858000"/>
          </a:xfrm>
          <a:prstGeom prst="rect">
            <a:avLst/>
          </a:prstGeom>
        </p:spPr>
      </p:pic>
      <p:sp>
        <p:nvSpPr>
          <p:cNvPr id="11" name="Titel 10">
            <a:extLst>
              <a:ext uri="{FF2B5EF4-FFF2-40B4-BE49-F238E27FC236}">
                <a16:creationId xmlns:a16="http://schemas.microsoft.com/office/drawing/2014/main" id="{2E250162-3FBD-465A-A88D-B1EF97043D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0000" y="357188"/>
            <a:ext cx="9493924" cy="1082812"/>
          </a:xfrm>
        </p:spPr>
        <p:txBody>
          <a:bodyPr lIns="0" anchor="ctr" anchorCtr="0">
            <a:normAutofit/>
          </a:bodyPr>
          <a:lstStyle>
            <a:lvl1pPr>
              <a:defRPr sz="36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1E1B337E-B563-4F3A-9CDE-5329B589DA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80000" y="1980000"/>
            <a:ext cx="9496800" cy="4157275"/>
          </a:xfrm>
        </p:spPr>
        <p:txBody>
          <a:bodyPr lIns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pic>
        <p:nvPicPr>
          <p:cNvPr id="7" name="Graphic 6">
            <a:hlinkClick r:id="" action="ppaction://noaction"/>
            <a:extLst>
              <a:ext uri="{FF2B5EF4-FFF2-40B4-BE49-F238E27FC236}">
                <a16:creationId xmlns:a16="http://schemas.microsoft.com/office/drawing/2014/main" id="{9428F45E-814A-4F25-BF29-6D4EDF953B7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8774" y="357189"/>
            <a:ext cx="1008000" cy="415058"/>
          </a:xfrm>
          <a:prstGeom prst="rect">
            <a:avLst/>
          </a:prstGeom>
        </p:spPr>
      </p:pic>
      <p:cxnSp>
        <p:nvCxnSpPr>
          <p:cNvPr id="10" name="Rechte verbindingslijn 9">
            <a:extLst>
              <a:ext uri="{FF2B5EF4-FFF2-40B4-BE49-F238E27FC236}">
                <a16:creationId xmlns:a16="http://schemas.microsoft.com/office/drawing/2014/main" id="{E3A148CB-828F-4DFD-AA4C-69725B2E3FBA}"/>
              </a:ext>
            </a:extLst>
          </p:cNvPr>
          <p:cNvCxnSpPr/>
          <p:nvPr userDrawn="1"/>
        </p:nvCxnSpPr>
        <p:spPr>
          <a:xfrm>
            <a:off x="1979999" y="1620000"/>
            <a:ext cx="900000" cy="0"/>
          </a:xfrm>
          <a:prstGeom prst="line">
            <a:avLst/>
          </a:prstGeom>
          <a:ln w="50800">
            <a:solidFill>
              <a:srgbClr val="FFE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275552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Tussentitel + 3 Inhou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4EBF8E1-91F2-4E4B-AF7C-1A2084AB5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EA04B5B-B226-4E77-B512-C407B06E7A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ABE038-A425-4CC0-917A-1DC3ED725B2E}" type="slidenum">
              <a:rPr lang="nl-BE" smtClean="0"/>
              <a:t>‹nr.›</a:t>
            </a:fld>
            <a:endParaRPr lang="nl-BE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6F45857B-E452-48F1-B0B6-4B82FEC46E0F}"/>
              </a:ext>
            </a:extLst>
          </p:cNvPr>
          <p:cNvSpPr/>
          <p:nvPr userDrawn="1"/>
        </p:nvSpPr>
        <p:spPr>
          <a:xfrm>
            <a:off x="0" y="0"/>
            <a:ext cx="219456" cy="6858000"/>
          </a:xfrm>
          <a:prstGeom prst="rect">
            <a:avLst/>
          </a:prstGeom>
          <a:solidFill>
            <a:srgbClr val="FF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8" name="Rechthoek 3">
            <a:extLst>
              <a:ext uri="{FF2B5EF4-FFF2-40B4-BE49-F238E27FC236}">
                <a16:creationId xmlns:a16="http://schemas.microsoft.com/office/drawing/2014/main" id="{23AF26AC-5CFB-4F6D-8A70-31DC3394C2C5}"/>
              </a:ext>
            </a:extLst>
          </p:cNvPr>
          <p:cNvSpPr/>
          <p:nvPr userDrawn="1"/>
        </p:nvSpPr>
        <p:spPr>
          <a:xfrm>
            <a:off x="839788" y="1577976"/>
            <a:ext cx="3240000" cy="46227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468000" rIns="180000" bIns="144000" rtlCol="0" anchor="t"/>
          <a:lstStyle/>
          <a:p>
            <a:pPr algn="ctr"/>
            <a:endParaRPr lang="nl-NL" sz="1600">
              <a:solidFill>
                <a:schemeClr val="tx1"/>
              </a:solidFill>
              <a:uFill>
                <a:solidFill>
                  <a:srgbClr val="FFE819"/>
                </a:solidFill>
              </a:uFill>
              <a:latin typeface="+mj-lt"/>
            </a:endParaRPr>
          </a:p>
        </p:txBody>
      </p:sp>
      <p:sp>
        <p:nvSpPr>
          <p:cNvPr id="9" name="Rechthoek 3">
            <a:extLst>
              <a:ext uri="{FF2B5EF4-FFF2-40B4-BE49-F238E27FC236}">
                <a16:creationId xmlns:a16="http://schemas.microsoft.com/office/drawing/2014/main" id="{1786B4DD-87B3-4870-B63C-2B803B4906F0}"/>
              </a:ext>
            </a:extLst>
          </p:cNvPr>
          <p:cNvSpPr/>
          <p:nvPr userDrawn="1"/>
        </p:nvSpPr>
        <p:spPr>
          <a:xfrm>
            <a:off x="4476000" y="1577976"/>
            <a:ext cx="3240000" cy="46227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468000" rIns="180000" bIns="144000" rtlCol="0" anchor="t"/>
          <a:lstStyle/>
          <a:p>
            <a:pPr algn="ctr"/>
            <a:endParaRPr lang="nl-NL" sz="1600">
              <a:solidFill>
                <a:srgbClr val="373636"/>
              </a:solidFill>
              <a:uFill>
                <a:solidFill>
                  <a:srgbClr val="FFE819"/>
                </a:solidFill>
              </a:uFill>
              <a:latin typeface="+mj-lt"/>
            </a:endParaRPr>
          </a:p>
        </p:txBody>
      </p:sp>
      <p:sp>
        <p:nvSpPr>
          <p:cNvPr id="10" name="Rechthoek 3">
            <a:extLst>
              <a:ext uri="{FF2B5EF4-FFF2-40B4-BE49-F238E27FC236}">
                <a16:creationId xmlns:a16="http://schemas.microsoft.com/office/drawing/2014/main" id="{892CD43D-9369-47DC-A190-4DABB5F648B9}"/>
              </a:ext>
            </a:extLst>
          </p:cNvPr>
          <p:cNvSpPr/>
          <p:nvPr userDrawn="1"/>
        </p:nvSpPr>
        <p:spPr>
          <a:xfrm>
            <a:off x="8112212" y="1592263"/>
            <a:ext cx="3240000" cy="46227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468000" rIns="180000" bIns="144000" rtlCol="0" anchor="t"/>
          <a:lstStyle/>
          <a:p>
            <a:pPr algn="ctr"/>
            <a:endParaRPr lang="nl-NL" sz="1600">
              <a:solidFill>
                <a:srgbClr val="373636"/>
              </a:solidFill>
              <a:uFill>
                <a:solidFill>
                  <a:srgbClr val="FFE819"/>
                </a:solidFill>
              </a:uFill>
              <a:latin typeface="+mj-lt"/>
            </a:endParaRP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516FA6D-8E9F-4C9C-BA50-CC09DCED407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00501" y="1904789"/>
            <a:ext cx="2918574" cy="778234"/>
          </a:xfrm>
        </p:spPr>
        <p:txBody>
          <a:bodyPr anchor="b">
            <a:noAutofit/>
          </a:bodyPr>
          <a:lstStyle>
            <a:lvl1pPr marL="0" algn="ctr" defTabSz="914400" rtl="0" eaLnBrk="1" latinLnBrk="0" hangingPunct="1">
              <a:defRPr lang="en-US" sz="2400" b="1" kern="1200" dirty="0" smtClean="0">
                <a:solidFill>
                  <a:schemeClr val="tx2"/>
                </a:solidFill>
                <a:uFill>
                  <a:solidFill>
                    <a:srgbClr val="FFE819"/>
                  </a:solidFill>
                </a:u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4903B434-F0DF-4A38-AD25-1AC6AC8F30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36713" y="1904789"/>
            <a:ext cx="2918574" cy="778234"/>
          </a:xfrm>
        </p:spPr>
        <p:txBody>
          <a:bodyPr anchor="b">
            <a:noAutofit/>
          </a:bodyPr>
          <a:lstStyle>
            <a:lvl1pPr marL="0" algn="ctr" defTabSz="914400" rtl="0" eaLnBrk="1" latinLnBrk="0" hangingPunct="1">
              <a:defRPr lang="en-US" sz="2400" b="1" kern="1200" dirty="0" smtClean="0">
                <a:solidFill>
                  <a:schemeClr val="tx2"/>
                </a:solidFill>
                <a:uFill>
                  <a:solidFill>
                    <a:srgbClr val="FFE819"/>
                  </a:solidFill>
                </a:u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4F757132-B6AF-4A2B-9F9B-07AB94E88C1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72925" y="1919076"/>
            <a:ext cx="2918574" cy="778234"/>
          </a:xfrm>
        </p:spPr>
        <p:txBody>
          <a:bodyPr anchor="b">
            <a:noAutofit/>
          </a:bodyPr>
          <a:lstStyle>
            <a:lvl1pPr marL="0" algn="ctr" defTabSz="914400" rtl="0" eaLnBrk="1" latinLnBrk="0" hangingPunct="1">
              <a:defRPr lang="en-US" sz="2400" b="1" kern="1200" dirty="0" smtClean="0">
                <a:solidFill>
                  <a:schemeClr val="tx2"/>
                </a:solidFill>
                <a:uFill>
                  <a:solidFill>
                    <a:srgbClr val="FFE819"/>
                  </a:solidFill>
                </a:u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870A25B-699D-4D15-BC83-0201815D2734}"/>
              </a:ext>
            </a:extLst>
          </p:cNvPr>
          <p:cNvSpPr/>
          <p:nvPr userDrawn="1"/>
        </p:nvSpPr>
        <p:spPr>
          <a:xfrm>
            <a:off x="2304758" y="2975201"/>
            <a:ext cx="309222" cy="7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+mj-l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A5DD0C0-8DD0-4CF1-A9DC-5F39B9B29250}"/>
              </a:ext>
            </a:extLst>
          </p:cNvPr>
          <p:cNvSpPr/>
          <p:nvPr userDrawn="1"/>
        </p:nvSpPr>
        <p:spPr>
          <a:xfrm>
            <a:off x="5821445" y="2975201"/>
            <a:ext cx="309222" cy="7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+mj-lt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047A5D2-E535-4929-8474-B0DFBDAC3AAA}"/>
              </a:ext>
            </a:extLst>
          </p:cNvPr>
          <p:cNvSpPr/>
          <p:nvPr userDrawn="1"/>
        </p:nvSpPr>
        <p:spPr>
          <a:xfrm>
            <a:off x="9577182" y="2989488"/>
            <a:ext cx="309222" cy="7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+mj-lt"/>
            </a:endParaRP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566FEB3-9583-4476-870F-89701263214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00501" y="3339380"/>
            <a:ext cx="2919600" cy="2656800"/>
          </a:xfrm>
        </p:spPr>
        <p:txBody>
          <a:bodyPr>
            <a:noAutofit/>
          </a:bodyPr>
          <a:lstStyle>
            <a:lvl1pPr marL="230400" indent="-230400">
              <a:buFont typeface="Wingdings" panose="05000000000000000000" pitchFamily="2" charset="2"/>
              <a:buChar char="§"/>
              <a:defRPr sz="2000">
                <a:latin typeface="+mn-lt"/>
              </a:defRPr>
            </a:lvl1pPr>
            <a:lvl2pPr marL="460800">
              <a:defRPr/>
            </a:lvl2pPr>
            <a:lvl3pPr marL="691200">
              <a:defRPr/>
            </a:lvl3pPr>
            <a:lvl4pPr marL="921600">
              <a:defRPr/>
            </a:lvl4pPr>
            <a:lvl5pPr marL="1152000"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EB0C5E13-305D-4093-8357-BB356F02F7B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635687" y="3339380"/>
            <a:ext cx="2919600" cy="2656800"/>
          </a:xfrm>
        </p:spPr>
        <p:txBody>
          <a:bodyPr>
            <a:noAutofit/>
          </a:bodyPr>
          <a:lstStyle>
            <a:lvl1pPr marL="230400" indent="-230400">
              <a:buFont typeface="Wingdings" panose="05000000000000000000" pitchFamily="2" charset="2"/>
              <a:buChar char="§"/>
              <a:defRPr sz="2000">
                <a:latin typeface="+mn-lt"/>
              </a:defRPr>
            </a:lvl1pPr>
            <a:lvl2pPr marL="460800">
              <a:defRPr/>
            </a:lvl2pPr>
            <a:lvl3pPr marL="691200">
              <a:defRPr/>
            </a:lvl3pPr>
            <a:lvl4pPr marL="921600">
              <a:defRPr/>
            </a:lvl4pPr>
            <a:lvl5pPr marL="1152000"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A9B79223-F299-4F48-B8EE-17FF3C2046E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70873" y="3339380"/>
            <a:ext cx="2919600" cy="2656800"/>
          </a:xfrm>
        </p:spPr>
        <p:txBody>
          <a:bodyPr>
            <a:noAutofit/>
          </a:bodyPr>
          <a:lstStyle>
            <a:lvl1pPr marL="230400" indent="-230400">
              <a:buFont typeface="Wingdings" panose="05000000000000000000" pitchFamily="2" charset="2"/>
              <a:buChar char="§"/>
              <a:defRPr sz="2000">
                <a:latin typeface="+mn-lt"/>
              </a:defRPr>
            </a:lvl1pPr>
            <a:lvl2pPr marL="460800">
              <a:defRPr/>
            </a:lvl2pPr>
            <a:lvl3pPr marL="691200">
              <a:defRPr/>
            </a:lvl3pPr>
            <a:lvl4pPr marL="921600">
              <a:defRPr/>
            </a:lvl4pPr>
            <a:lvl5pPr marL="1152000"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EACFD26D-5C2D-4D4C-BF5B-D87C120620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6612" y="736352"/>
            <a:ext cx="10515600" cy="703511"/>
          </a:xfrm>
          <a:prstGeom prst="rect">
            <a:avLst/>
          </a:prstGeom>
        </p:spPr>
        <p:txBody>
          <a:bodyPr anchor="t"/>
          <a:lstStyle>
            <a:lvl1pPr>
              <a:defRPr/>
            </a:lvl1pPr>
          </a:lstStyle>
          <a:p>
            <a:r>
              <a:rPr lang="nl-NL"/>
              <a:t>Hoofdtitel</a:t>
            </a:r>
            <a:endParaRPr lang="nl-BE"/>
          </a:p>
        </p:txBody>
      </p:sp>
      <p:sp>
        <p:nvSpPr>
          <p:cNvPr id="22" name="Tijdelijke aanduiding voor tekst 9">
            <a:extLst>
              <a:ext uri="{FF2B5EF4-FFF2-40B4-BE49-F238E27FC236}">
                <a16:creationId xmlns:a16="http://schemas.microsoft.com/office/drawing/2014/main" id="{CC9879FD-0861-47BA-AB16-D81A3B7D1A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6612" y="368300"/>
            <a:ext cx="10515599" cy="368052"/>
          </a:xfrm>
        </p:spPr>
        <p:txBody>
          <a:bodyPr anchor="ctr">
            <a:normAutofit/>
          </a:bodyPr>
          <a:lstStyle>
            <a:lvl1pPr>
              <a:defRPr sz="2000" b="0" u="none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nl-BE"/>
              <a:t>BOVENTITEL</a:t>
            </a:r>
          </a:p>
        </p:txBody>
      </p:sp>
    </p:spTree>
    <p:extLst>
      <p:ext uri="{BB962C8B-B14F-4D97-AF65-F5344CB8AC3E}">
        <p14:creationId xmlns:p14="http://schemas.microsoft.com/office/powerpoint/2010/main" val="2828371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Tussentitel + 4 Inhou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4EBF8E1-91F2-4E4B-AF7C-1A2084AB5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EA04B5B-B226-4E77-B512-C407B06E7A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ABE038-A425-4CC0-917A-1DC3ED725B2E}" type="slidenum">
              <a:rPr lang="nl-BE" smtClean="0"/>
              <a:t>‹nr.›</a:t>
            </a:fld>
            <a:endParaRPr lang="nl-BE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6F45857B-E452-48F1-B0B6-4B82FEC46E0F}"/>
              </a:ext>
            </a:extLst>
          </p:cNvPr>
          <p:cNvSpPr/>
          <p:nvPr userDrawn="1"/>
        </p:nvSpPr>
        <p:spPr>
          <a:xfrm>
            <a:off x="0" y="0"/>
            <a:ext cx="219456" cy="6858000"/>
          </a:xfrm>
          <a:prstGeom prst="rect">
            <a:avLst/>
          </a:prstGeom>
          <a:solidFill>
            <a:srgbClr val="FF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8" name="Rechthoek 3">
            <a:extLst>
              <a:ext uri="{FF2B5EF4-FFF2-40B4-BE49-F238E27FC236}">
                <a16:creationId xmlns:a16="http://schemas.microsoft.com/office/drawing/2014/main" id="{23AF26AC-5CFB-4F6D-8A70-31DC3394C2C5}"/>
              </a:ext>
            </a:extLst>
          </p:cNvPr>
          <p:cNvSpPr/>
          <p:nvPr userDrawn="1"/>
        </p:nvSpPr>
        <p:spPr>
          <a:xfrm>
            <a:off x="839788" y="1592263"/>
            <a:ext cx="2523897" cy="46085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468000" rIns="180000" bIns="144000" rtlCol="0" anchor="t"/>
          <a:lstStyle/>
          <a:p>
            <a:pPr algn="ctr"/>
            <a:endParaRPr lang="nl-NL" sz="1600">
              <a:solidFill>
                <a:schemeClr val="tx1"/>
              </a:solidFill>
              <a:uFill>
                <a:solidFill>
                  <a:srgbClr val="FFE819"/>
                </a:solidFill>
              </a:uFill>
              <a:latin typeface="+mj-lt"/>
            </a:endParaRP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516FA6D-8E9F-4C9C-BA50-CC09DCED407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66060" y="1904789"/>
            <a:ext cx="2273512" cy="778234"/>
          </a:xfrm>
        </p:spPr>
        <p:txBody>
          <a:bodyPr anchor="b">
            <a:noAutofit/>
          </a:bodyPr>
          <a:lstStyle>
            <a:lvl1pPr marL="0" algn="ctr" defTabSz="914400" rtl="0" eaLnBrk="1" latinLnBrk="0" hangingPunct="1">
              <a:defRPr lang="en-US" sz="2400" b="1" kern="1200" dirty="0" smtClean="0">
                <a:solidFill>
                  <a:schemeClr val="tx2"/>
                </a:solidFill>
                <a:uFill>
                  <a:solidFill>
                    <a:srgbClr val="FFE819"/>
                  </a:solidFill>
                </a:u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870A25B-699D-4D15-BC83-0201815D2734}"/>
              </a:ext>
            </a:extLst>
          </p:cNvPr>
          <p:cNvSpPr/>
          <p:nvPr userDrawn="1"/>
        </p:nvSpPr>
        <p:spPr>
          <a:xfrm>
            <a:off x="1958011" y="2975201"/>
            <a:ext cx="309222" cy="7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+mj-lt"/>
            </a:endParaRP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566FEB3-9583-4476-870F-89701263214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65656" y="3339380"/>
            <a:ext cx="2274311" cy="2656800"/>
          </a:xfrm>
        </p:spPr>
        <p:txBody>
          <a:bodyPr>
            <a:noAutofit/>
          </a:bodyPr>
          <a:lstStyle>
            <a:lvl1pPr marL="230400" indent="-230400">
              <a:buFont typeface="Wingdings" panose="05000000000000000000" pitchFamily="2" charset="2"/>
              <a:buChar char="§"/>
              <a:defRPr sz="2000">
                <a:latin typeface="+mn-lt"/>
              </a:defRPr>
            </a:lvl1pPr>
            <a:lvl2pPr marL="460800">
              <a:defRPr/>
            </a:lvl2pPr>
            <a:lvl3pPr marL="691200">
              <a:defRPr/>
            </a:lvl3pPr>
            <a:lvl4pPr marL="921600">
              <a:defRPr/>
            </a:lvl4pPr>
            <a:lvl5pPr marL="1152000"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71" name="Rechthoek 3">
            <a:extLst>
              <a:ext uri="{FF2B5EF4-FFF2-40B4-BE49-F238E27FC236}">
                <a16:creationId xmlns:a16="http://schemas.microsoft.com/office/drawing/2014/main" id="{D42E061E-4CC4-43FD-8005-B1BD5D905DC0}"/>
              </a:ext>
            </a:extLst>
          </p:cNvPr>
          <p:cNvSpPr/>
          <p:nvPr userDrawn="1"/>
        </p:nvSpPr>
        <p:spPr>
          <a:xfrm>
            <a:off x="3502631" y="1592263"/>
            <a:ext cx="2523897" cy="46085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468000" rIns="180000" bIns="144000" rtlCol="0" anchor="t"/>
          <a:lstStyle/>
          <a:p>
            <a:pPr algn="ctr"/>
            <a:endParaRPr lang="nl-NL" sz="1600">
              <a:solidFill>
                <a:schemeClr val="tx1"/>
              </a:solidFill>
              <a:uFill>
                <a:solidFill>
                  <a:srgbClr val="FFE819"/>
                </a:solidFill>
              </a:uFill>
              <a:latin typeface="+mj-lt"/>
            </a:endParaRPr>
          </a:p>
        </p:txBody>
      </p:sp>
      <p:sp>
        <p:nvSpPr>
          <p:cNvPr id="72" name="Text Placeholder 16">
            <a:extLst>
              <a:ext uri="{FF2B5EF4-FFF2-40B4-BE49-F238E27FC236}">
                <a16:creationId xmlns:a16="http://schemas.microsoft.com/office/drawing/2014/main" id="{4E3C6674-DD01-47E9-A10E-D853334741C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628903" y="1904789"/>
            <a:ext cx="2273512" cy="778234"/>
          </a:xfrm>
        </p:spPr>
        <p:txBody>
          <a:bodyPr anchor="b">
            <a:noAutofit/>
          </a:bodyPr>
          <a:lstStyle>
            <a:lvl1pPr marL="0" algn="ctr" defTabSz="914400" rtl="0" eaLnBrk="1" latinLnBrk="0" hangingPunct="1">
              <a:defRPr lang="en-US" sz="2400" b="1" kern="1200" dirty="0" smtClean="0">
                <a:solidFill>
                  <a:schemeClr val="tx2"/>
                </a:solidFill>
                <a:uFill>
                  <a:solidFill>
                    <a:srgbClr val="FFE819"/>
                  </a:solidFill>
                </a:u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7B184C01-EC21-4F1C-A40F-CE7D84CD102F}"/>
              </a:ext>
            </a:extLst>
          </p:cNvPr>
          <p:cNvSpPr/>
          <p:nvPr userDrawn="1"/>
        </p:nvSpPr>
        <p:spPr>
          <a:xfrm>
            <a:off x="4620854" y="2975201"/>
            <a:ext cx="309222" cy="7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+mj-lt"/>
            </a:endParaRPr>
          </a:p>
        </p:txBody>
      </p:sp>
      <p:sp>
        <p:nvSpPr>
          <p:cNvPr id="74" name="Text Placeholder 20">
            <a:extLst>
              <a:ext uri="{FF2B5EF4-FFF2-40B4-BE49-F238E27FC236}">
                <a16:creationId xmlns:a16="http://schemas.microsoft.com/office/drawing/2014/main" id="{55EDD25B-4655-4241-B02F-A9D898AFDAC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28499" y="3339380"/>
            <a:ext cx="2274311" cy="2656800"/>
          </a:xfrm>
        </p:spPr>
        <p:txBody>
          <a:bodyPr>
            <a:noAutofit/>
          </a:bodyPr>
          <a:lstStyle>
            <a:lvl1pPr marL="230400" indent="-230400">
              <a:buFont typeface="Wingdings" panose="05000000000000000000" pitchFamily="2" charset="2"/>
              <a:buChar char="§"/>
              <a:defRPr sz="2000">
                <a:latin typeface="+mn-lt"/>
              </a:defRPr>
            </a:lvl1pPr>
            <a:lvl2pPr marL="460800">
              <a:defRPr/>
            </a:lvl2pPr>
            <a:lvl3pPr marL="691200">
              <a:defRPr/>
            </a:lvl3pPr>
            <a:lvl4pPr marL="921600">
              <a:defRPr/>
            </a:lvl4pPr>
            <a:lvl5pPr marL="1152000"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75" name="Rechthoek 3">
            <a:extLst>
              <a:ext uri="{FF2B5EF4-FFF2-40B4-BE49-F238E27FC236}">
                <a16:creationId xmlns:a16="http://schemas.microsoft.com/office/drawing/2014/main" id="{25E21064-3834-4788-B957-C622E24DCF38}"/>
              </a:ext>
            </a:extLst>
          </p:cNvPr>
          <p:cNvSpPr/>
          <p:nvPr userDrawn="1"/>
        </p:nvSpPr>
        <p:spPr>
          <a:xfrm>
            <a:off x="6165474" y="1592263"/>
            <a:ext cx="2523897" cy="46085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468000" rIns="180000" bIns="144000" rtlCol="0" anchor="t"/>
          <a:lstStyle/>
          <a:p>
            <a:pPr algn="ctr"/>
            <a:endParaRPr lang="nl-NL" sz="1600">
              <a:solidFill>
                <a:schemeClr val="tx1"/>
              </a:solidFill>
              <a:uFill>
                <a:solidFill>
                  <a:srgbClr val="FFE819"/>
                </a:solidFill>
              </a:uFill>
              <a:latin typeface="+mj-lt"/>
            </a:endParaRPr>
          </a:p>
        </p:txBody>
      </p:sp>
      <p:sp>
        <p:nvSpPr>
          <p:cNvPr id="76" name="Text Placeholder 16">
            <a:extLst>
              <a:ext uri="{FF2B5EF4-FFF2-40B4-BE49-F238E27FC236}">
                <a16:creationId xmlns:a16="http://schemas.microsoft.com/office/drawing/2014/main" id="{6350B18A-4C7A-4978-BED9-F8CA3F7851C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91746" y="1904789"/>
            <a:ext cx="2273512" cy="778234"/>
          </a:xfrm>
        </p:spPr>
        <p:txBody>
          <a:bodyPr anchor="b">
            <a:noAutofit/>
          </a:bodyPr>
          <a:lstStyle>
            <a:lvl1pPr marL="0" algn="ctr" defTabSz="914400" rtl="0" eaLnBrk="1" latinLnBrk="0" hangingPunct="1">
              <a:defRPr lang="en-US" sz="2400" b="1" kern="1200" dirty="0" smtClean="0">
                <a:solidFill>
                  <a:schemeClr val="tx2"/>
                </a:solidFill>
                <a:uFill>
                  <a:solidFill>
                    <a:srgbClr val="FFE819"/>
                  </a:solidFill>
                </a:u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84149926-AEB6-41AF-B225-2B03505D5B8D}"/>
              </a:ext>
            </a:extLst>
          </p:cNvPr>
          <p:cNvSpPr/>
          <p:nvPr userDrawn="1"/>
        </p:nvSpPr>
        <p:spPr>
          <a:xfrm>
            <a:off x="7283697" y="2975201"/>
            <a:ext cx="309222" cy="7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+mj-lt"/>
            </a:endParaRPr>
          </a:p>
        </p:txBody>
      </p:sp>
      <p:sp>
        <p:nvSpPr>
          <p:cNvPr id="78" name="Text Placeholder 20">
            <a:extLst>
              <a:ext uri="{FF2B5EF4-FFF2-40B4-BE49-F238E27FC236}">
                <a16:creationId xmlns:a16="http://schemas.microsoft.com/office/drawing/2014/main" id="{CBE57870-6B13-4436-9AB0-B45ACC23401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91342" y="3339380"/>
            <a:ext cx="2274311" cy="2656800"/>
          </a:xfrm>
        </p:spPr>
        <p:txBody>
          <a:bodyPr>
            <a:noAutofit/>
          </a:bodyPr>
          <a:lstStyle>
            <a:lvl1pPr marL="230400" indent="-230400">
              <a:buFont typeface="Wingdings" panose="05000000000000000000" pitchFamily="2" charset="2"/>
              <a:buChar char="§"/>
              <a:defRPr sz="2000">
                <a:latin typeface="+mn-lt"/>
              </a:defRPr>
            </a:lvl1pPr>
            <a:lvl2pPr marL="460800">
              <a:defRPr/>
            </a:lvl2pPr>
            <a:lvl3pPr marL="691200">
              <a:defRPr/>
            </a:lvl3pPr>
            <a:lvl4pPr marL="921600">
              <a:defRPr/>
            </a:lvl4pPr>
            <a:lvl5pPr marL="1152000"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79" name="Rechthoek 3">
            <a:extLst>
              <a:ext uri="{FF2B5EF4-FFF2-40B4-BE49-F238E27FC236}">
                <a16:creationId xmlns:a16="http://schemas.microsoft.com/office/drawing/2014/main" id="{8C77416B-B3AD-4D67-B6D2-4ACF2DD6EDD0}"/>
              </a:ext>
            </a:extLst>
          </p:cNvPr>
          <p:cNvSpPr/>
          <p:nvPr userDrawn="1"/>
        </p:nvSpPr>
        <p:spPr>
          <a:xfrm>
            <a:off x="8828316" y="1592263"/>
            <a:ext cx="2523897" cy="46085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468000" rIns="180000" bIns="144000" rtlCol="0" anchor="t"/>
          <a:lstStyle/>
          <a:p>
            <a:pPr algn="ctr"/>
            <a:endParaRPr lang="nl-NL" sz="1600">
              <a:solidFill>
                <a:schemeClr val="tx1"/>
              </a:solidFill>
              <a:uFill>
                <a:solidFill>
                  <a:srgbClr val="FFE819"/>
                </a:solidFill>
              </a:uFill>
              <a:latin typeface="+mj-lt"/>
            </a:endParaRPr>
          </a:p>
        </p:txBody>
      </p:sp>
      <p:sp>
        <p:nvSpPr>
          <p:cNvPr id="80" name="Text Placeholder 16">
            <a:extLst>
              <a:ext uri="{FF2B5EF4-FFF2-40B4-BE49-F238E27FC236}">
                <a16:creationId xmlns:a16="http://schemas.microsoft.com/office/drawing/2014/main" id="{852EF0F1-F093-4E8C-A7D2-5130A61B0E5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54588" y="1904789"/>
            <a:ext cx="2273512" cy="778234"/>
          </a:xfrm>
        </p:spPr>
        <p:txBody>
          <a:bodyPr anchor="b">
            <a:noAutofit/>
          </a:bodyPr>
          <a:lstStyle>
            <a:lvl1pPr marL="0" algn="ctr" defTabSz="914400" rtl="0" eaLnBrk="1" latinLnBrk="0" hangingPunct="1">
              <a:defRPr lang="en-US" sz="2400" b="1" kern="1200" dirty="0" smtClean="0">
                <a:solidFill>
                  <a:schemeClr val="tx2"/>
                </a:solidFill>
                <a:uFill>
                  <a:solidFill>
                    <a:srgbClr val="FFE819"/>
                  </a:solidFill>
                </a:u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396AA952-17E9-41F2-A71E-4A8199C2B745}"/>
              </a:ext>
            </a:extLst>
          </p:cNvPr>
          <p:cNvSpPr/>
          <p:nvPr userDrawn="1"/>
        </p:nvSpPr>
        <p:spPr>
          <a:xfrm>
            <a:off x="9946539" y="2975201"/>
            <a:ext cx="309222" cy="7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+mj-lt"/>
            </a:endParaRPr>
          </a:p>
        </p:txBody>
      </p:sp>
      <p:sp>
        <p:nvSpPr>
          <p:cNvPr id="82" name="Text Placeholder 20">
            <a:extLst>
              <a:ext uri="{FF2B5EF4-FFF2-40B4-BE49-F238E27FC236}">
                <a16:creationId xmlns:a16="http://schemas.microsoft.com/office/drawing/2014/main" id="{6FF71E5F-F651-4629-9C5E-3DE7139EE63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954184" y="3339380"/>
            <a:ext cx="2274311" cy="2656800"/>
          </a:xfrm>
        </p:spPr>
        <p:txBody>
          <a:bodyPr>
            <a:noAutofit/>
          </a:bodyPr>
          <a:lstStyle>
            <a:lvl1pPr marL="230400" indent="-230400">
              <a:buFont typeface="Wingdings" panose="05000000000000000000" pitchFamily="2" charset="2"/>
              <a:buChar char="§"/>
              <a:defRPr sz="2000">
                <a:latin typeface="+mn-lt"/>
              </a:defRPr>
            </a:lvl1pPr>
            <a:lvl2pPr marL="460800">
              <a:defRPr/>
            </a:lvl2pPr>
            <a:lvl3pPr marL="691200">
              <a:defRPr/>
            </a:lvl3pPr>
            <a:lvl4pPr marL="921600">
              <a:defRPr/>
            </a:lvl4pPr>
            <a:lvl5pPr marL="1152000"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41E833E3-11DC-491F-9B58-E6B30A34C1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6612" y="736352"/>
            <a:ext cx="10515600" cy="703511"/>
          </a:xfrm>
          <a:prstGeom prst="rect">
            <a:avLst/>
          </a:prstGeom>
        </p:spPr>
        <p:txBody>
          <a:bodyPr anchor="t"/>
          <a:lstStyle>
            <a:lvl1pPr>
              <a:defRPr/>
            </a:lvl1pPr>
          </a:lstStyle>
          <a:p>
            <a:r>
              <a:rPr lang="nl-NL"/>
              <a:t>Hoofdtitel</a:t>
            </a:r>
            <a:endParaRPr lang="nl-BE"/>
          </a:p>
        </p:txBody>
      </p:sp>
      <p:sp>
        <p:nvSpPr>
          <p:cNvPr id="24" name="Tijdelijke aanduiding voor tekst 9">
            <a:extLst>
              <a:ext uri="{FF2B5EF4-FFF2-40B4-BE49-F238E27FC236}">
                <a16:creationId xmlns:a16="http://schemas.microsoft.com/office/drawing/2014/main" id="{73F24D1F-09B5-4D12-AAE2-ED1A62D13F3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6612" y="368300"/>
            <a:ext cx="10515599" cy="368052"/>
          </a:xfrm>
        </p:spPr>
        <p:txBody>
          <a:bodyPr anchor="ctr">
            <a:normAutofit/>
          </a:bodyPr>
          <a:lstStyle>
            <a:lvl1pPr>
              <a:defRPr sz="2000" b="0" u="none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nl-BE"/>
              <a:t>BOVENTITEL</a:t>
            </a:r>
          </a:p>
        </p:txBody>
      </p:sp>
    </p:spTree>
    <p:extLst>
      <p:ext uri="{BB962C8B-B14F-4D97-AF65-F5344CB8AC3E}">
        <p14:creationId xmlns:p14="http://schemas.microsoft.com/office/powerpoint/2010/main" val="1368261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Tussentitel + 2 Inhoud/Pict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4EBF8E1-91F2-4E4B-AF7C-1A2084AB5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EA04B5B-B226-4E77-B512-C407B06E7A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ABE038-A425-4CC0-917A-1DC3ED725B2E}" type="slidenum">
              <a:rPr lang="nl-BE" smtClean="0"/>
              <a:t>‹nr.›</a:t>
            </a:fld>
            <a:endParaRPr lang="nl-BE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6F45857B-E452-48F1-B0B6-4B82FEC46E0F}"/>
              </a:ext>
            </a:extLst>
          </p:cNvPr>
          <p:cNvSpPr/>
          <p:nvPr userDrawn="1"/>
        </p:nvSpPr>
        <p:spPr>
          <a:xfrm>
            <a:off x="0" y="0"/>
            <a:ext cx="219456" cy="6858000"/>
          </a:xfrm>
          <a:prstGeom prst="rect">
            <a:avLst/>
          </a:prstGeom>
          <a:solidFill>
            <a:srgbClr val="FF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8" name="Rechthoek 3">
            <a:extLst>
              <a:ext uri="{FF2B5EF4-FFF2-40B4-BE49-F238E27FC236}">
                <a16:creationId xmlns:a16="http://schemas.microsoft.com/office/drawing/2014/main" id="{23AF26AC-5CFB-4F6D-8A70-31DC3394C2C5}"/>
              </a:ext>
            </a:extLst>
          </p:cNvPr>
          <p:cNvSpPr/>
          <p:nvPr userDrawn="1"/>
        </p:nvSpPr>
        <p:spPr>
          <a:xfrm>
            <a:off x="839787" y="1592263"/>
            <a:ext cx="5049383" cy="46085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468000" rIns="180000" bIns="144000" rtlCol="0" anchor="t"/>
          <a:lstStyle/>
          <a:p>
            <a:pPr algn="ctr"/>
            <a:endParaRPr lang="nl-NL" sz="1600">
              <a:solidFill>
                <a:schemeClr val="tx1"/>
              </a:solidFill>
              <a:uFill>
                <a:solidFill>
                  <a:srgbClr val="FFE819"/>
                </a:solidFill>
              </a:uFill>
              <a:latin typeface="+mj-lt"/>
            </a:endParaRPr>
          </a:p>
        </p:txBody>
      </p:sp>
      <p:sp>
        <p:nvSpPr>
          <p:cNvPr id="28" name="Rechthoek 3">
            <a:extLst>
              <a:ext uri="{FF2B5EF4-FFF2-40B4-BE49-F238E27FC236}">
                <a16:creationId xmlns:a16="http://schemas.microsoft.com/office/drawing/2014/main" id="{18679EBA-25DF-47AF-B66A-ADB4C0B50434}"/>
              </a:ext>
            </a:extLst>
          </p:cNvPr>
          <p:cNvSpPr/>
          <p:nvPr userDrawn="1"/>
        </p:nvSpPr>
        <p:spPr>
          <a:xfrm>
            <a:off x="6302830" y="1592263"/>
            <a:ext cx="5049383" cy="46085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468000" rIns="180000" bIns="144000" rtlCol="0" anchor="t"/>
          <a:lstStyle/>
          <a:p>
            <a:pPr algn="ctr"/>
            <a:endParaRPr lang="nl-NL" sz="1600">
              <a:solidFill>
                <a:schemeClr val="tx1"/>
              </a:solidFill>
              <a:uFill>
                <a:solidFill>
                  <a:srgbClr val="FFE819"/>
                </a:solidFill>
              </a:uFill>
              <a:latin typeface="+mj-lt"/>
            </a:endParaRPr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B402254C-B322-4B4A-8A90-0B23A940D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6612" y="736352"/>
            <a:ext cx="10515600" cy="703511"/>
          </a:xfrm>
          <a:prstGeom prst="rect">
            <a:avLst/>
          </a:prstGeom>
        </p:spPr>
        <p:txBody>
          <a:bodyPr anchor="t"/>
          <a:lstStyle>
            <a:lvl1pPr>
              <a:defRPr/>
            </a:lvl1pPr>
          </a:lstStyle>
          <a:p>
            <a:r>
              <a:rPr lang="nl-NL"/>
              <a:t>Hoofdtitel</a:t>
            </a:r>
            <a:endParaRPr lang="nl-BE"/>
          </a:p>
        </p:txBody>
      </p:sp>
      <p:sp>
        <p:nvSpPr>
          <p:cNvPr id="17" name="Tijdelijke aanduiding voor tekst 9">
            <a:extLst>
              <a:ext uri="{FF2B5EF4-FFF2-40B4-BE49-F238E27FC236}">
                <a16:creationId xmlns:a16="http://schemas.microsoft.com/office/drawing/2014/main" id="{59EEA2BC-5754-457F-AE68-3991568A9F5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6612" y="368300"/>
            <a:ext cx="10515599" cy="368052"/>
          </a:xfrm>
        </p:spPr>
        <p:txBody>
          <a:bodyPr anchor="ctr">
            <a:normAutofit/>
          </a:bodyPr>
          <a:lstStyle>
            <a:lvl1pPr>
              <a:defRPr sz="2000" b="0" u="none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nl-BE"/>
              <a:t>BOVENTITEL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46BDB17C-9B6D-48F9-9348-2AEF34DB304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89278" y="2618715"/>
            <a:ext cx="4550400" cy="778234"/>
          </a:xfrm>
        </p:spPr>
        <p:txBody>
          <a:bodyPr anchor="b">
            <a:normAutofit/>
          </a:bodyPr>
          <a:lstStyle>
            <a:lvl1pPr marL="0" algn="ctr" defTabSz="914400" rtl="0" eaLnBrk="1" latinLnBrk="0" hangingPunct="1">
              <a:defRPr lang="en-US" sz="2400" b="1" kern="1200" dirty="0" smtClean="0">
                <a:solidFill>
                  <a:schemeClr val="tx2"/>
                </a:solidFill>
                <a:uFill>
                  <a:solidFill>
                    <a:srgbClr val="FFE819"/>
                  </a:solidFill>
                </a:u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DD495D0-3B93-43AE-B288-1723A0705626}"/>
              </a:ext>
            </a:extLst>
          </p:cNvPr>
          <p:cNvSpPr/>
          <p:nvPr userDrawn="1"/>
        </p:nvSpPr>
        <p:spPr>
          <a:xfrm>
            <a:off x="3209867" y="3549427"/>
            <a:ext cx="309222" cy="7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+mj-lt"/>
            </a:endParaRPr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A69D1F81-2F1B-47B2-A28E-09C0F783B27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89278" y="3773905"/>
            <a:ext cx="4550400" cy="2110395"/>
          </a:xfrm>
        </p:spPr>
        <p:txBody>
          <a:bodyPr>
            <a:noAutofit/>
          </a:bodyPr>
          <a:lstStyle>
            <a:lvl1pPr marL="230400" indent="-230400">
              <a:buFont typeface="Wingdings" panose="05000000000000000000" pitchFamily="2" charset="2"/>
              <a:buChar char="§"/>
              <a:defRPr sz="2000">
                <a:latin typeface="+mn-lt"/>
              </a:defRPr>
            </a:lvl1pPr>
            <a:lvl2pPr marL="460800">
              <a:defRPr/>
            </a:lvl2pPr>
            <a:lvl3pPr marL="691200">
              <a:defRPr/>
            </a:lvl3pPr>
            <a:lvl4pPr marL="921600">
              <a:defRPr/>
            </a:lvl4pPr>
            <a:lvl5pPr marL="1152000"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22" name="Online Image Placeholder 16">
            <a:extLst>
              <a:ext uri="{FF2B5EF4-FFF2-40B4-BE49-F238E27FC236}">
                <a16:creationId xmlns:a16="http://schemas.microsoft.com/office/drawing/2014/main" id="{222CE1EE-23F9-4FCE-86F0-7F96545E4E63}"/>
              </a:ext>
            </a:extLst>
          </p:cNvPr>
          <p:cNvSpPr>
            <a:spLocks noGrp="1"/>
          </p:cNvSpPr>
          <p:nvPr>
            <p:ph type="clipArt" sz="quarter" idx="27" hasCustomPrompt="1"/>
          </p:nvPr>
        </p:nvSpPr>
        <p:spPr>
          <a:xfrm>
            <a:off x="2914478" y="1714500"/>
            <a:ext cx="900000" cy="900000"/>
          </a:xfrm>
        </p:spPr>
        <p:txBody>
          <a:bodyPr/>
          <a:lstStyle/>
          <a:p>
            <a:r>
              <a:rPr lang="nl-BE"/>
              <a:t> </a:t>
            </a:r>
          </a:p>
        </p:txBody>
      </p:sp>
      <p:sp>
        <p:nvSpPr>
          <p:cNvPr id="23" name="Text Placeholder 16">
            <a:extLst>
              <a:ext uri="{FF2B5EF4-FFF2-40B4-BE49-F238E27FC236}">
                <a16:creationId xmlns:a16="http://schemas.microsoft.com/office/drawing/2014/main" id="{30D1A054-6415-47DE-9B16-10035EB5305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552322" y="2618715"/>
            <a:ext cx="4550400" cy="778234"/>
          </a:xfrm>
        </p:spPr>
        <p:txBody>
          <a:bodyPr anchor="b">
            <a:normAutofit/>
          </a:bodyPr>
          <a:lstStyle>
            <a:lvl1pPr marL="0" algn="ctr" defTabSz="914400" rtl="0" eaLnBrk="1" latinLnBrk="0" hangingPunct="1">
              <a:defRPr lang="en-US" sz="2400" b="1" kern="1200" dirty="0" smtClean="0">
                <a:solidFill>
                  <a:schemeClr val="tx2"/>
                </a:solidFill>
                <a:uFill>
                  <a:solidFill>
                    <a:srgbClr val="FFE819"/>
                  </a:solidFill>
                </a:u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E6D2007-47ED-45A4-9F12-A18B0C9ED417}"/>
              </a:ext>
            </a:extLst>
          </p:cNvPr>
          <p:cNvSpPr/>
          <p:nvPr userDrawn="1"/>
        </p:nvSpPr>
        <p:spPr>
          <a:xfrm>
            <a:off x="8672911" y="3549427"/>
            <a:ext cx="309222" cy="7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+mj-lt"/>
            </a:endParaRP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B0A96B7A-60C9-490B-B4EE-D049BC61C56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552322" y="3773905"/>
            <a:ext cx="4550400" cy="2110395"/>
          </a:xfrm>
        </p:spPr>
        <p:txBody>
          <a:bodyPr>
            <a:noAutofit/>
          </a:bodyPr>
          <a:lstStyle>
            <a:lvl1pPr marL="230400" indent="-230400">
              <a:buFont typeface="Wingdings" panose="05000000000000000000" pitchFamily="2" charset="2"/>
              <a:buChar char="§"/>
              <a:defRPr sz="2000">
                <a:latin typeface="+mn-lt"/>
              </a:defRPr>
            </a:lvl1pPr>
            <a:lvl2pPr marL="460800">
              <a:defRPr/>
            </a:lvl2pPr>
            <a:lvl3pPr marL="691200">
              <a:defRPr/>
            </a:lvl3pPr>
            <a:lvl4pPr marL="921600">
              <a:defRPr/>
            </a:lvl4pPr>
            <a:lvl5pPr marL="1152000"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26" name="Online Image Placeholder 16">
            <a:extLst>
              <a:ext uri="{FF2B5EF4-FFF2-40B4-BE49-F238E27FC236}">
                <a16:creationId xmlns:a16="http://schemas.microsoft.com/office/drawing/2014/main" id="{343900B9-5A27-4A34-9EA3-52EAA216C361}"/>
              </a:ext>
            </a:extLst>
          </p:cNvPr>
          <p:cNvSpPr>
            <a:spLocks noGrp="1"/>
          </p:cNvSpPr>
          <p:nvPr>
            <p:ph type="clipArt" sz="quarter" idx="30" hasCustomPrompt="1"/>
          </p:nvPr>
        </p:nvSpPr>
        <p:spPr>
          <a:xfrm>
            <a:off x="8377522" y="1714500"/>
            <a:ext cx="900000" cy="900000"/>
          </a:xfrm>
        </p:spPr>
        <p:txBody>
          <a:bodyPr/>
          <a:lstStyle/>
          <a:p>
            <a:r>
              <a:rPr lang="nl-B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83966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Tussentitel + 3 Inhoud/Pict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4EBF8E1-91F2-4E4B-AF7C-1A2084AB5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EA04B5B-B226-4E77-B512-C407B06E7A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ABE038-A425-4CC0-917A-1DC3ED725B2E}" type="slidenum">
              <a:rPr lang="nl-BE" smtClean="0"/>
              <a:t>‹nr.›</a:t>
            </a:fld>
            <a:endParaRPr lang="nl-BE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6F45857B-E452-48F1-B0B6-4B82FEC46E0F}"/>
              </a:ext>
            </a:extLst>
          </p:cNvPr>
          <p:cNvSpPr/>
          <p:nvPr userDrawn="1"/>
        </p:nvSpPr>
        <p:spPr>
          <a:xfrm>
            <a:off x="0" y="0"/>
            <a:ext cx="219456" cy="6858000"/>
          </a:xfrm>
          <a:prstGeom prst="rect">
            <a:avLst/>
          </a:prstGeom>
          <a:solidFill>
            <a:srgbClr val="FF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8" name="Rechthoek 3">
            <a:extLst>
              <a:ext uri="{FF2B5EF4-FFF2-40B4-BE49-F238E27FC236}">
                <a16:creationId xmlns:a16="http://schemas.microsoft.com/office/drawing/2014/main" id="{23AF26AC-5CFB-4F6D-8A70-31DC3394C2C5}"/>
              </a:ext>
            </a:extLst>
          </p:cNvPr>
          <p:cNvSpPr/>
          <p:nvPr userDrawn="1"/>
        </p:nvSpPr>
        <p:spPr>
          <a:xfrm>
            <a:off x="839788" y="1577976"/>
            <a:ext cx="3240000" cy="46227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468000" rIns="180000" bIns="144000" rtlCol="0" anchor="t"/>
          <a:lstStyle/>
          <a:p>
            <a:pPr algn="ctr"/>
            <a:endParaRPr lang="nl-NL" sz="1600">
              <a:solidFill>
                <a:schemeClr val="tx1"/>
              </a:solidFill>
              <a:uFill>
                <a:solidFill>
                  <a:srgbClr val="FFE819"/>
                </a:solidFill>
              </a:uFill>
              <a:latin typeface="+mj-lt"/>
            </a:endParaRPr>
          </a:p>
        </p:txBody>
      </p:sp>
      <p:sp>
        <p:nvSpPr>
          <p:cNvPr id="9" name="Rechthoek 3">
            <a:extLst>
              <a:ext uri="{FF2B5EF4-FFF2-40B4-BE49-F238E27FC236}">
                <a16:creationId xmlns:a16="http://schemas.microsoft.com/office/drawing/2014/main" id="{1786B4DD-87B3-4870-B63C-2B803B4906F0}"/>
              </a:ext>
            </a:extLst>
          </p:cNvPr>
          <p:cNvSpPr/>
          <p:nvPr userDrawn="1"/>
        </p:nvSpPr>
        <p:spPr>
          <a:xfrm>
            <a:off x="4476000" y="1577976"/>
            <a:ext cx="3240000" cy="46227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468000" rIns="180000" bIns="144000" rtlCol="0" anchor="t"/>
          <a:lstStyle/>
          <a:p>
            <a:pPr algn="ctr"/>
            <a:endParaRPr lang="nl-NL" sz="1600">
              <a:solidFill>
                <a:srgbClr val="373636"/>
              </a:solidFill>
              <a:uFill>
                <a:solidFill>
                  <a:srgbClr val="FFE819"/>
                </a:solidFill>
              </a:uFill>
              <a:latin typeface="+mj-lt"/>
            </a:endParaRPr>
          </a:p>
        </p:txBody>
      </p:sp>
      <p:sp>
        <p:nvSpPr>
          <p:cNvPr id="10" name="Rechthoek 3">
            <a:extLst>
              <a:ext uri="{FF2B5EF4-FFF2-40B4-BE49-F238E27FC236}">
                <a16:creationId xmlns:a16="http://schemas.microsoft.com/office/drawing/2014/main" id="{892CD43D-9369-47DC-A190-4DABB5F648B9}"/>
              </a:ext>
            </a:extLst>
          </p:cNvPr>
          <p:cNvSpPr/>
          <p:nvPr userDrawn="1"/>
        </p:nvSpPr>
        <p:spPr>
          <a:xfrm>
            <a:off x="8112212" y="1592263"/>
            <a:ext cx="3240000" cy="46227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468000" rIns="180000" bIns="144000" rtlCol="0" anchor="t"/>
          <a:lstStyle/>
          <a:p>
            <a:pPr algn="ctr"/>
            <a:endParaRPr lang="nl-NL" sz="1600">
              <a:solidFill>
                <a:srgbClr val="373636"/>
              </a:solidFill>
              <a:uFill>
                <a:solidFill>
                  <a:srgbClr val="FFE819"/>
                </a:solidFill>
              </a:uFill>
              <a:latin typeface="+mj-lt"/>
            </a:endParaRPr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EACFD26D-5C2D-4D4C-BF5B-D87C120620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6612" y="736352"/>
            <a:ext cx="10515600" cy="703511"/>
          </a:xfrm>
          <a:prstGeom prst="rect">
            <a:avLst/>
          </a:prstGeom>
        </p:spPr>
        <p:txBody>
          <a:bodyPr anchor="t"/>
          <a:lstStyle>
            <a:lvl1pPr>
              <a:defRPr/>
            </a:lvl1pPr>
          </a:lstStyle>
          <a:p>
            <a:r>
              <a:rPr lang="nl-NL"/>
              <a:t>Hoofdtitel</a:t>
            </a:r>
            <a:endParaRPr lang="nl-BE"/>
          </a:p>
        </p:txBody>
      </p:sp>
      <p:sp>
        <p:nvSpPr>
          <p:cNvPr id="22" name="Tijdelijke aanduiding voor tekst 9">
            <a:extLst>
              <a:ext uri="{FF2B5EF4-FFF2-40B4-BE49-F238E27FC236}">
                <a16:creationId xmlns:a16="http://schemas.microsoft.com/office/drawing/2014/main" id="{CC9879FD-0861-47BA-AB16-D81A3B7D1A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6612" y="368300"/>
            <a:ext cx="10515599" cy="368052"/>
          </a:xfrm>
        </p:spPr>
        <p:txBody>
          <a:bodyPr anchor="ctr">
            <a:normAutofit/>
          </a:bodyPr>
          <a:lstStyle>
            <a:lvl1pPr>
              <a:defRPr sz="2000" b="0" u="none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nl-BE"/>
              <a:t>BOVENTITEL</a:t>
            </a:r>
          </a:p>
        </p:txBody>
      </p:sp>
      <p:sp>
        <p:nvSpPr>
          <p:cNvPr id="23" name="Text Placeholder 16">
            <a:extLst>
              <a:ext uri="{FF2B5EF4-FFF2-40B4-BE49-F238E27FC236}">
                <a16:creationId xmlns:a16="http://schemas.microsoft.com/office/drawing/2014/main" id="{8BB1C6CA-135A-4AE9-9AB0-7B207BD8378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99988" y="2618715"/>
            <a:ext cx="2919600" cy="778234"/>
          </a:xfrm>
        </p:spPr>
        <p:txBody>
          <a:bodyPr anchor="b">
            <a:normAutofit/>
          </a:bodyPr>
          <a:lstStyle>
            <a:lvl1pPr marL="0" algn="ctr" defTabSz="914400" rtl="0" eaLnBrk="1" latinLnBrk="0" hangingPunct="1">
              <a:defRPr lang="en-US" sz="2400" b="1" kern="1200" dirty="0" smtClean="0">
                <a:solidFill>
                  <a:schemeClr val="tx2"/>
                </a:solidFill>
                <a:uFill>
                  <a:solidFill>
                    <a:srgbClr val="FFE819"/>
                  </a:solidFill>
                </a:u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5BCF47F-37A5-4B7C-9485-7519277ADFCA}"/>
              </a:ext>
            </a:extLst>
          </p:cNvPr>
          <p:cNvSpPr/>
          <p:nvPr userDrawn="1"/>
        </p:nvSpPr>
        <p:spPr>
          <a:xfrm>
            <a:off x="2305177" y="3549427"/>
            <a:ext cx="309222" cy="7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+mj-lt"/>
            </a:endParaRP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3728EF24-9EE6-4CEE-969E-B8B7446DDC0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99988" y="3773905"/>
            <a:ext cx="2919600" cy="2110395"/>
          </a:xfrm>
        </p:spPr>
        <p:txBody>
          <a:bodyPr>
            <a:noAutofit/>
          </a:bodyPr>
          <a:lstStyle>
            <a:lvl1pPr marL="230400" indent="-230400">
              <a:buFont typeface="Wingdings" panose="05000000000000000000" pitchFamily="2" charset="2"/>
              <a:buChar char="§"/>
              <a:defRPr sz="2000">
                <a:latin typeface="+mn-lt"/>
              </a:defRPr>
            </a:lvl1pPr>
            <a:lvl2pPr marL="460800">
              <a:defRPr/>
            </a:lvl2pPr>
            <a:lvl3pPr marL="691200">
              <a:defRPr/>
            </a:lvl3pPr>
            <a:lvl4pPr marL="921600">
              <a:defRPr/>
            </a:lvl4pPr>
            <a:lvl5pPr marL="1152000"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28" name="Online Image Placeholder 16">
            <a:extLst>
              <a:ext uri="{FF2B5EF4-FFF2-40B4-BE49-F238E27FC236}">
                <a16:creationId xmlns:a16="http://schemas.microsoft.com/office/drawing/2014/main" id="{41F57AC2-0925-47D8-847C-E565727DA574}"/>
              </a:ext>
            </a:extLst>
          </p:cNvPr>
          <p:cNvSpPr>
            <a:spLocks noGrp="1"/>
          </p:cNvSpPr>
          <p:nvPr>
            <p:ph type="clipArt" sz="quarter" idx="27" hasCustomPrompt="1"/>
          </p:nvPr>
        </p:nvSpPr>
        <p:spPr>
          <a:xfrm>
            <a:off x="2009788" y="1714500"/>
            <a:ext cx="900000" cy="900000"/>
          </a:xfrm>
        </p:spPr>
        <p:txBody>
          <a:bodyPr/>
          <a:lstStyle/>
          <a:p>
            <a:r>
              <a:rPr lang="nl-BE"/>
              <a:t> </a:t>
            </a:r>
          </a:p>
        </p:txBody>
      </p:sp>
      <p:sp>
        <p:nvSpPr>
          <p:cNvPr id="34" name="Text Placeholder 16">
            <a:extLst>
              <a:ext uri="{FF2B5EF4-FFF2-40B4-BE49-F238E27FC236}">
                <a16:creationId xmlns:a16="http://schemas.microsoft.com/office/drawing/2014/main" id="{CC3F4D00-33C0-47BA-AD68-A90C140F063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636200" y="2618715"/>
            <a:ext cx="2919600" cy="778234"/>
          </a:xfrm>
        </p:spPr>
        <p:txBody>
          <a:bodyPr anchor="b">
            <a:normAutofit/>
          </a:bodyPr>
          <a:lstStyle>
            <a:lvl1pPr marL="0" algn="ctr" defTabSz="914400" rtl="0" eaLnBrk="1" latinLnBrk="0" hangingPunct="1">
              <a:defRPr lang="en-US" sz="2400" b="1" kern="1200" dirty="0" smtClean="0">
                <a:solidFill>
                  <a:schemeClr val="tx2"/>
                </a:solidFill>
                <a:uFill>
                  <a:solidFill>
                    <a:srgbClr val="FFE819"/>
                  </a:solidFill>
                </a:u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DC197F4-EA06-4DDA-A29E-0EF637FFFEBE}"/>
              </a:ext>
            </a:extLst>
          </p:cNvPr>
          <p:cNvSpPr/>
          <p:nvPr userDrawn="1"/>
        </p:nvSpPr>
        <p:spPr>
          <a:xfrm>
            <a:off x="5941389" y="3549427"/>
            <a:ext cx="309222" cy="7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+mj-lt"/>
            </a:endParaRPr>
          </a:p>
        </p:txBody>
      </p:sp>
      <p:sp>
        <p:nvSpPr>
          <p:cNvPr id="36" name="Text Placeholder 20">
            <a:extLst>
              <a:ext uri="{FF2B5EF4-FFF2-40B4-BE49-F238E27FC236}">
                <a16:creationId xmlns:a16="http://schemas.microsoft.com/office/drawing/2014/main" id="{526EC123-0D03-4949-A8C0-A22D3753281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6200" y="3773905"/>
            <a:ext cx="2919600" cy="2110395"/>
          </a:xfrm>
        </p:spPr>
        <p:txBody>
          <a:bodyPr>
            <a:noAutofit/>
          </a:bodyPr>
          <a:lstStyle>
            <a:lvl1pPr marL="230400" indent="-230400">
              <a:buFont typeface="Wingdings" panose="05000000000000000000" pitchFamily="2" charset="2"/>
              <a:buChar char="§"/>
              <a:defRPr sz="2000">
                <a:latin typeface="+mn-lt"/>
              </a:defRPr>
            </a:lvl1pPr>
            <a:lvl2pPr marL="460800">
              <a:defRPr/>
            </a:lvl2pPr>
            <a:lvl3pPr marL="691200">
              <a:defRPr/>
            </a:lvl3pPr>
            <a:lvl4pPr marL="921600">
              <a:defRPr/>
            </a:lvl4pPr>
            <a:lvl5pPr marL="1152000"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37" name="Online Image Placeholder 16">
            <a:extLst>
              <a:ext uri="{FF2B5EF4-FFF2-40B4-BE49-F238E27FC236}">
                <a16:creationId xmlns:a16="http://schemas.microsoft.com/office/drawing/2014/main" id="{7A3AC853-2F98-4ED6-ADBA-F4C35BA5391D}"/>
              </a:ext>
            </a:extLst>
          </p:cNvPr>
          <p:cNvSpPr>
            <a:spLocks noGrp="1"/>
          </p:cNvSpPr>
          <p:nvPr>
            <p:ph type="clipArt" sz="quarter" idx="30" hasCustomPrompt="1"/>
          </p:nvPr>
        </p:nvSpPr>
        <p:spPr>
          <a:xfrm>
            <a:off x="5646000" y="1714500"/>
            <a:ext cx="900000" cy="900000"/>
          </a:xfrm>
        </p:spPr>
        <p:txBody>
          <a:bodyPr/>
          <a:lstStyle/>
          <a:p>
            <a:r>
              <a:rPr lang="nl-BE"/>
              <a:t> </a:t>
            </a:r>
          </a:p>
        </p:txBody>
      </p:sp>
      <p:sp>
        <p:nvSpPr>
          <p:cNvPr id="38" name="Text Placeholder 16">
            <a:extLst>
              <a:ext uri="{FF2B5EF4-FFF2-40B4-BE49-F238E27FC236}">
                <a16:creationId xmlns:a16="http://schemas.microsoft.com/office/drawing/2014/main" id="{77D2E02D-03FC-4B46-B861-DCDEDEC131F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272412" y="2618715"/>
            <a:ext cx="2919600" cy="778234"/>
          </a:xfrm>
        </p:spPr>
        <p:txBody>
          <a:bodyPr anchor="b">
            <a:normAutofit/>
          </a:bodyPr>
          <a:lstStyle>
            <a:lvl1pPr marL="0" algn="ctr" defTabSz="914400" rtl="0" eaLnBrk="1" latinLnBrk="0" hangingPunct="1">
              <a:defRPr lang="en-US" sz="2400" b="1" kern="1200" dirty="0" smtClean="0">
                <a:solidFill>
                  <a:schemeClr val="tx2"/>
                </a:solidFill>
                <a:uFill>
                  <a:solidFill>
                    <a:srgbClr val="FFE819"/>
                  </a:solidFill>
                </a:u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35FF3416-302A-4EBD-90C7-F5A5EF8E3A87}"/>
              </a:ext>
            </a:extLst>
          </p:cNvPr>
          <p:cNvSpPr/>
          <p:nvPr userDrawn="1"/>
        </p:nvSpPr>
        <p:spPr>
          <a:xfrm>
            <a:off x="9577601" y="3549427"/>
            <a:ext cx="309222" cy="7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+mj-lt"/>
            </a:endParaRPr>
          </a:p>
        </p:txBody>
      </p:sp>
      <p:sp>
        <p:nvSpPr>
          <p:cNvPr id="40" name="Text Placeholder 20">
            <a:extLst>
              <a:ext uri="{FF2B5EF4-FFF2-40B4-BE49-F238E27FC236}">
                <a16:creationId xmlns:a16="http://schemas.microsoft.com/office/drawing/2014/main" id="{674B1754-672D-4B67-A177-16D8B34DD39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272412" y="3773905"/>
            <a:ext cx="2919600" cy="2110395"/>
          </a:xfrm>
        </p:spPr>
        <p:txBody>
          <a:bodyPr>
            <a:noAutofit/>
          </a:bodyPr>
          <a:lstStyle>
            <a:lvl1pPr marL="230400" indent="-230400">
              <a:buFont typeface="Wingdings" panose="05000000000000000000" pitchFamily="2" charset="2"/>
              <a:buChar char="§"/>
              <a:defRPr sz="2000">
                <a:latin typeface="+mn-lt"/>
              </a:defRPr>
            </a:lvl1pPr>
            <a:lvl2pPr marL="460800">
              <a:defRPr/>
            </a:lvl2pPr>
            <a:lvl3pPr marL="691200">
              <a:defRPr/>
            </a:lvl3pPr>
            <a:lvl4pPr marL="921600">
              <a:defRPr/>
            </a:lvl4pPr>
            <a:lvl5pPr marL="1152000"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41" name="Online Image Placeholder 16">
            <a:extLst>
              <a:ext uri="{FF2B5EF4-FFF2-40B4-BE49-F238E27FC236}">
                <a16:creationId xmlns:a16="http://schemas.microsoft.com/office/drawing/2014/main" id="{21C369DB-296F-4ECC-B095-94B0855D5BF5}"/>
              </a:ext>
            </a:extLst>
          </p:cNvPr>
          <p:cNvSpPr>
            <a:spLocks noGrp="1"/>
          </p:cNvSpPr>
          <p:nvPr>
            <p:ph type="clipArt" sz="quarter" idx="33" hasCustomPrompt="1"/>
          </p:nvPr>
        </p:nvSpPr>
        <p:spPr>
          <a:xfrm>
            <a:off x="9282212" y="1714500"/>
            <a:ext cx="900000" cy="900000"/>
          </a:xfrm>
        </p:spPr>
        <p:txBody>
          <a:bodyPr/>
          <a:lstStyle/>
          <a:p>
            <a:r>
              <a:rPr lang="nl-B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32465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Tussentitel + 4 Inhoud/Pict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4EBF8E1-91F2-4E4B-AF7C-1A2084AB5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EA04B5B-B226-4E77-B512-C407B06E7A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ABE038-A425-4CC0-917A-1DC3ED725B2E}" type="slidenum">
              <a:rPr lang="nl-BE" smtClean="0"/>
              <a:t>‹nr.›</a:t>
            </a:fld>
            <a:endParaRPr lang="nl-BE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6F45857B-E452-48F1-B0B6-4B82FEC46E0F}"/>
              </a:ext>
            </a:extLst>
          </p:cNvPr>
          <p:cNvSpPr/>
          <p:nvPr userDrawn="1"/>
        </p:nvSpPr>
        <p:spPr>
          <a:xfrm>
            <a:off x="0" y="0"/>
            <a:ext cx="219456" cy="6858000"/>
          </a:xfrm>
          <a:prstGeom prst="rect">
            <a:avLst/>
          </a:prstGeom>
          <a:solidFill>
            <a:srgbClr val="FF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8" name="Rechthoek 3">
            <a:extLst>
              <a:ext uri="{FF2B5EF4-FFF2-40B4-BE49-F238E27FC236}">
                <a16:creationId xmlns:a16="http://schemas.microsoft.com/office/drawing/2014/main" id="{23AF26AC-5CFB-4F6D-8A70-31DC3394C2C5}"/>
              </a:ext>
            </a:extLst>
          </p:cNvPr>
          <p:cNvSpPr/>
          <p:nvPr userDrawn="1"/>
        </p:nvSpPr>
        <p:spPr>
          <a:xfrm>
            <a:off x="839788" y="1592263"/>
            <a:ext cx="2523897" cy="46085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468000" rIns="180000" bIns="144000" rtlCol="0" anchor="t"/>
          <a:lstStyle/>
          <a:p>
            <a:pPr algn="ctr"/>
            <a:endParaRPr lang="nl-NL" sz="1600">
              <a:solidFill>
                <a:schemeClr val="tx1"/>
              </a:solidFill>
              <a:uFill>
                <a:solidFill>
                  <a:srgbClr val="FFE819"/>
                </a:solidFill>
              </a:uFill>
              <a:latin typeface="+mj-lt"/>
            </a:endParaRP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516FA6D-8E9F-4C9C-BA50-CC09DCED407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66060" y="2618715"/>
            <a:ext cx="2273512" cy="778234"/>
          </a:xfrm>
        </p:spPr>
        <p:txBody>
          <a:bodyPr anchor="b">
            <a:normAutofit/>
          </a:bodyPr>
          <a:lstStyle>
            <a:lvl1pPr marL="0" algn="ctr" defTabSz="914400" rtl="0" eaLnBrk="1" latinLnBrk="0" hangingPunct="1">
              <a:defRPr lang="en-US" sz="2400" b="1" kern="1200" dirty="0" smtClean="0">
                <a:solidFill>
                  <a:schemeClr val="tx2"/>
                </a:solidFill>
                <a:uFill>
                  <a:solidFill>
                    <a:srgbClr val="FFE819"/>
                  </a:solidFill>
                </a:u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870A25B-699D-4D15-BC83-0201815D2734}"/>
              </a:ext>
            </a:extLst>
          </p:cNvPr>
          <p:cNvSpPr/>
          <p:nvPr userDrawn="1"/>
        </p:nvSpPr>
        <p:spPr>
          <a:xfrm>
            <a:off x="1958011" y="3549427"/>
            <a:ext cx="309222" cy="7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+mj-lt"/>
            </a:endParaRP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566FEB3-9583-4476-870F-89701263214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65656" y="3773905"/>
            <a:ext cx="2274311" cy="2110395"/>
          </a:xfrm>
        </p:spPr>
        <p:txBody>
          <a:bodyPr>
            <a:noAutofit/>
          </a:bodyPr>
          <a:lstStyle>
            <a:lvl1pPr marL="230400" indent="-230400">
              <a:buFont typeface="Wingdings" panose="05000000000000000000" pitchFamily="2" charset="2"/>
              <a:buChar char="§"/>
              <a:defRPr sz="2000">
                <a:latin typeface="+mn-lt"/>
              </a:defRPr>
            </a:lvl1pPr>
            <a:lvl2pPr marL="460800">
              <a:defRPr/>
            </a:lvl2pPr>
            <a:lvl3pPr marL="691200">
              <a:defRPr/>
            </a:lvl3pPr>
            <a:lvl4pPr marL="921600">
              <a:defRPr/>
            </a:lvl4pPr>
            <a:lvl5pPr marL="1152000"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71" name="Rechthoek 3">
            <a:extLst>
              <a:ext uri="{FF2B5EF4-FFF2-40B4-BE49-F238E27FC236}">
                <a16:creationId xmlns:a16="http://schemas.microsoft.com/office/drawing/2014/main" id="{D42E061E-4CC4-43FD-8005-B1BD5D905DC0}"/>
              </a:ext>
            </a:extLst>
          </p:cNvPr>
          <p:cNvSpPr/>
          <p:nvPr userDrawn="1"/>
        </p:nvSpPr>
        <p:spPr>
          <a:xfrm>
            <a:off x="3502631" y="1592263"/>
            <a:ext cx="2523897" cy="46085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468000" rIns="180000" bIns="144000" rtlCol="0" anchor="t"/>
          <a:lstStyle/>
          <a:p>
            <a:pPr algn="ctr"/>
            <a:endParaRPr lang="nl-NL" sz="1600">
              <a:solidFill>
                <a:schemeClr val="tx1"/>
              </a:solidFill>
              <a:uFill>
                <a:solidFill>
                  <a:srgbClr val="FFE819"/>
                </a:solidFill>
              </a:uFill>
              <a:latin typeface="+mj-lt"/>
            </a:endParaRPr>
          </a:p>
        </p:txBody>
      </p:sp>
      <p:sp>
        <p:nvSpPr>
          <p:cNvPr id="72" name="Text Placeholder 16">
            <a:extLst>
              <a:ext uri="{FF2B5EF4-FFF2-40B4-BE49-F238E27FC236}">
                <a16:creationId xmlns:a16="http://schemas.microsoft.com/office/drawing/2014/main" id="{4E3C6674-DD01-47E9-A10E-D853334741C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628903" y="2618715"/>
            <a:ext cx="2273512" cy="778234"/>
          </a:xfrm>
        </p:spPr>
        <p:txBody>
          <a:bodyPr anchor="b">
            <a:normAutofit/>
          </a:bodyPr>
          <a:lstStyle>
            <a:lvl1pPr marL="0" algn="ctr" defTabSz="914400" rtl="0" eaLnBrk="1" latinLnBrk="0" hangingPunct="1">
              <a:defRPr lang="en-US" sz="2400" b="1" kern="1200" dirty="0" smtClean="0">
                <a:solidFill>
                  <a:schemeClr val="tx2"/>
                </a:solidFill>
                <a:uFill>
                  <a:solidFill>
                    <a:srgbClr val="FFE819"/>
                  </a:solidFill>
                </a:u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7B184C01-EC21-4F1C-A40F-CE7D84CD102F}"/>
              </a:ext>
            </a:extLst>
          </p:cNvPr>
          <p:cNvSpPr/>
          <p:nvPr userDrawn="1"/>
        </p:nvSpPr>
        <p:spPr>
          <a:xfrm>
            <a:off x="4620854" y="3549427"/>
            <a:ext cx="309222" cy="7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+mj-lt"/>
            </a:endParaRPr>
          </a:p>
        </p:txBody>
      </p:sp>
      <p:sp>
        <p:nvSpPr>
          <p:cNvPr id="74" name="Text Placeholder 20">
            <a:extLst>
              <a:ext uri="{FF2B5EF4-FFF2-40B4-BE49-F238E27FC236}">
                <a16:creationId xmlns:a16="http://schemas.microsoft.com/office/drawing/2014/main" id="{55EDD25B-4655-4241-B02F-A9D898AFDAC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28499" y="3773905"/>
            <a:ext cx="2274311" cy="2110395"/>
          </a:xfrm>
        </p:spPr>
        <p:txBody>
          <a:bodyPr>
            <a:noAutofit/>
          </a:bodyPr>
          <a:lstStyle>
            <a:lvl1pPr marL="230400" indent="-230400">
              <a:buFont typeface="Wingdings" panose="05000000000000000000" pitchFamily="2" charset="2"/>
              <a:buChar char="§"/>
              <a:defRPr sz="2000">
                <a:latin typeface="+mn-lt"/>
              </a:defRPr>
            </a:lvl1pPr>
            <a:lvl2pPr marL="460800">
              <a:defRPr/>
            </a:lvl2pPr>
            <a:lvl3pPr marL="691200">
              <a:defRPr/>
            </a:lvl3pPr>
            <a:lvl4pPr marL="921600">
              <a:defRPr/>
            </a:lvl4pPr>
            <a:lvl5pPr marL="1152000"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75" name="Rechthoek 3">
            <a:extLst>
              <a:ext uri="{FF2B5EF4-FFF2-40B4-BE49-F238E27FC236}">
                <a16:creationId xmlns:a16="http://schemas.microsoft.com/office/drawing/2014/main" id="{25E21064-3834-4788-B957-C622E24DCF38}"/>
              </a:ext>
            </a:extLst>
          </p:cNvPr>
          <p:cNvSpPr/>
          <p:nvPr userDrawn="1"/>
        </p:nvSpPr>
        <p:spPr>
          <a:xfrm>
            <a:off x="6165474" y="1592263"/>
            <a:ext cx="2523897" cy="46085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468000" rIns="180000" bIns="144000" rtlCol="0" anchor="t"/>
          <a:lstStyle/>
          <a:p>
            <a:pPr algn="ctr"/>
            <a:endParaRPr lang="nl-NL" sz="1600">
              <a:solidFill>
                <a:schemeClr val="tx1"/>
              </a:solidFill>
              <a:uFill>
                <a:solidFill>
                  <a:srgbClr val="FFE819"/>
                </a:solidFill>
              </a:uFill>
              <a:latin typeface="+mj-lt"/>
            </a:endParaRPr>
          </a:p>
        </p:txBody>
      </p:sp>
      <p:sp>
        <p:nvSpPr>
          <p:cNvPr id="76" name="Text Placeholder 16">
            <a:extLst>
              <a:ext uri="{FF2B5EF4-FFF2-40B4-BE49-F238E27FC236}">
                <a16:creationId xmlns:a16="http://schemas.microsoft.com/office/drawing/2014/main" id="{6350B18A-4C7A-4978-BED9-F8CA3F7851C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91746" y="2618715"/>
            <a:ext cx="2273512" cy="778234"/>
          </a:xfrm>
        </p:spPr>
        <p:txBody>
          <a:bodyPr anchor="b">
            <a:normAutofit/>
          </a:bodyPr>
          <a:lstStyle>
            <a:lvl1pPr marL="0" algn="ctr" defTabSz="914400" rtl="0" eaLnBrk="1" latinLnBrk="0" hangingPunct="1">
              <a:defRPr lang="en-US" sz="2400" b="1" kern="1200" dirty="0" smtClean="0">
                <a:solidFill>
                  <a:schemeClr val="tx2"/>
                </a:solidFill>
                <a:uFill>
                  <a:solidFill>
                    <a:srgbClr val="FFE819"/>
                  </a:solidFill>
                </a:u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84149926-AEB6-41AF-B225-2B03505D5B8D}"/>
              </a:ext>
            </a:extLst>
          </p:cNvPr>
          <p:cNvSpPr/>
          <p:nvPr userDrawn="1"/>
        </p:nvSpPr>
        <p:spPr>
          <a:xfrm>
            <a:off x="7283697" y="3549427"/>
            <a:ext cx="309222" cy="7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+mj-lt"/>
            </a:endParaRPr>
          </a:p>
        </p:txBody>
      </p:sp>
      <p:sp>
        <p:nvSpPr>
          <p:cNvPr id="78" name="Text Placeholder 20">
            <a:extLst>
              <a:ext uri="{FF2B5EF4-FFF2-40B4-BE49-F238E27FC236}">
                <a16:creationId xmlns:a16="http://schemas.microsoft.com/office/drawing/2014/main" id="{CBE57870-6B13-4436-9AB0-B45ACC23401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91342" y="3773905"/>
            <a:ext cx="2274311" cy="2110395"/>
          </a:xfrm>
        </p:spPr>
        <p:txBody>
          <a:bodyPr>
            <a:noAutofit/>
          </a:bodyPr>
          <a:lstStyle>
            <a:lvl1pPr marL="230400" indent="-230400">
              <a:buFont typeface="Wingdings" panose="05000000000000000000" pitchFamily="2" charset="2"/>
              <a:buChar char="§"/>
              <a:defRPr sz="2000">
                <a:latin typeface="+mn-lt"/>
              </a:defRPr>
            </a:lvl1pPr>
            <a:lvl2pPr marL="460800">
              <a:defRPr/>
            </a:lvl2pPr>
            <a:lvl3pPr marL="691200">
              <a:defRPr/>
            </a:lvl3pPr>
            <a:lvl4pPr marL="921600">
              <a:defRPr/>
            </a:lvl4pPr>
            <a:lvl5pPr marL="1152000"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79" name="Rechthoek 3">
            <a:extLst>
              <a:ext uri="{FF2B5EF4-FFF2-40B4-BE49-F238E27FC236}">
                <a16:creationId xmlns:a16="http://schemas.microsoft.com/office/drawing/2014/main" id="{8C77416B-B3AD-4D67-B6D2-4ACF2DD6EDD0}"/>
              </a:ext>
            </a:extLst>
          </p:cNvPr>
          <p:cNvSpPr/>
          <p:nvPr userDrawn="1"/>
        </p:nvSpPr>
        <p:spPr>
          <a:xfrm>
            <a:off x="8828316" y="1592263"/>
            <a:ext cx="2523897" cy="46085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468000" rIns="180000" bIns="144000" rtlCol="0" anchor="t"/>
          <a:lstStyle/>
          <a:p>
            <a:pPr algn="ctr"/>
            <a:endParaRPr lang="nl-NL" sz="1600">
              <a:solidFill>
                <a:schemeClr val="tx1"/>
              </a:solidFill>
              <a:uFill>
                <a:solidFill>
                  <a:srgbClr val="FFE819"/>
                </a:solidFill>
              </a:uFill>
              <a:latin typeface="+mj-lt"/>
            </a:endParaRPr>
          </a:p>
        </p:txBody>
      </p:sp>
      <p:sp>
        <p:nvSpPr>
          <p:cNvPr id="80" name="Text Placeholder 16">
            <a:extLst>
              <a:ext uri="{FF2B5EF4-FFF2-40B4-BE49-F238E27FC236}">
                <a16:creationId xmlns:a16="http://schemas.microsoft.com/office/drawing/2014/main" id="{852EF0F1-F093-4E8C-A7D2-5130A61B0E5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54588" y="2618715"/>
            <a:ext cx="2273512" cy="778234"/>
          </a:xfrm>
        </p:spPr>
        <p:txBody>
          <a:bodyPr anchor="b">
            <a:normAutofit/>
          </a:bodyPr>
          <a:lstStyle>
            <a:lvl1pPr marL="0" algn="ctr" defTabSz="914400" rtl="0" eaLnBrk="1" latinLnBrk="0" hangingPunct="1">
              <a:defRPr lang="en-US" sz="2400" b="1" kern="1200" dirty="0" smtClean="0">
                <a:solidFill>
                  <a:schemeClr val="tx2"/>
                </a:solidFill>
                <a:uFill>
                  <a:solidFill>
                    <a:srgbClr val="FFE819"/>
                  </a:solidFill>
                </a:u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396AA952-17E9-41F2-A71E-4A8199C2B745}"/>
              </a:ext>
            </a:extLst>
          </p:cNvPr>
          <p:cNvSpPr/>
          <p:nvPr userDrawn="1"/>
        </p:nvSpPr>
        <p:spPr>
          <a:xfrm>
            <a:off x="9946539" y="3549427"/>
            <a:ext cx="309222" cy="7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+mj-lt"/>
            </a:endParaRPr>
          </a:p>
        </p:txBody>
      </p:sp>
      <p:sp>
        <p:nvSpPr>
          <p:cNvPr id="82" name="Text Placeholder 20">
            <a:extLst>
              <a:ext uri="{FF2B5EF4-FFF2-40B4-BE49-F238E27FC236}">
                <a16:creationId xmlns:a16="http://schemas.microsoft.com/office/drawing/2014/main" id="{6FF71E5F-F651-4629-9C5E-3DE7139EE63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954184" y="3773905"/>
            <a:ext cx="2274311" cy="2110395"/>
          </a:xfrm>
        </p:spPr>
        <p:txBody>
          <a:bodyPr>
            <a:noAutofit/>
          </a:bodyPr>
          <a:lstStyle>
            <a:lvl1pPr marL="230400" indent="-230400">
              <a:buFont typeface="Wingdings" panose="05000000000000000000" pitchFamily="2" charset="2"/>
              <a:buChar char="§"/>
              <a:defRPr sz="2000">
                <a:latin typeface="+mn-lt"/>
              </a:defRPr>
            </a:lvl1pPr>
            <a:lvl2pPr marL="460800">
              <a:defRPr/>
            </a:lvl2pPr>
            <a:lvl3pPr marL="691200">
              <a:defRPr/>
            </a:lvl3pPr>
            <a:lvl4pPr marL="921600">
              <a:defRPr/>
            </a:lvl4pPr>
            <a:lvl5pPr marL="1152000"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41E833E3-11DC-491F-9B58-E6B30A34C1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6612" y="736352"/>
            <a:ext cx="10515600" cy="703511"/>
          </a:xfrm>
          <a:prstGeom prst="rect">
            <a:avLst/>
          </a:prstGeom>
        </p:spPr>
        <p:txBody>
          <a:bodyPr anchor="t"/>
          <a:lstStyle>
            <a:lvl1pPr>
              <a:defRPr/>
            </a:lvl1pPr>
          </a:lstStyle>
          <a:p>
            <a:r>
              <a:rPr lang="nl-NL"/>
              <a:t>Hoofdtitel</a:t>
            </a:r>
            <a:endParaRPr lang="nl-BE"/>
          </a:p>
        </p:txBody>
      </p:sp>
      <p:sp>
        <p:nvSpPr>
          <p:cNvPr id="24" name="Tijdelijke aanduiding voor tekst 9">
            <a:extLst>
              <a:ext uri="{FF2B5EF4-FFF2-40B4-BE49-F238E27FC236}">
                <a16:creationId xmlns:a16="http://schemas.microsoft.com/office/drawing/2014/main" id="{73F24D1F-09B5-4D12-AAE2-ED1A62D13F3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6612" y="368300"/>
            <a:ext cx="10515599" cy="368052"/>
          </a:xfrm>
        </p:spPr>
        <p:txBody>
          <a:bodyPr anchor="ctr">
            <a:normAutofit/>
          </a:bodyPr>
          <a:lstStyle>
            <a:lvl1pPr>
              <a:defRPr sz="2000" b="0" u="none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nl-BE"/>
              <a:t>BOVENTITEL</a:t>
            </a:r>
          </a:p>
        </p:txBody>
      </p:sp>
      <p:sp>
        <p:nvSpPr>
          <p:cNvPr id="17" name="Online Image Placeholder 16">
            <a:extLst>
              <a:ext uri="{FF2B5EF4-FFF2-40B4-BE49-F238E27FC236}">
                <a16:creationId xmlns:a16="http://schemas.microsoft.com/office/drawing/2014/main" id="{A2B2B6C9-21C8-40FF-8EBE-697189CEC390}"/>
              </a:ext>
            </a:extLst>
          </p:cNvPr>
          <p:cNvSpPr>
            <a:spLocks noGrp="1"/>
          </p:cNvSpPr>
          <p:nvPr>
            <p:ph type="clipArt" sz="quarter" idx="27" hasCustomPrompt="1"/>
          </p:nvPr>
        </p:nvSpPr>
        <p:spPr>
          <a:xfrm>
            <a:off x="1652816" y="1714500"/>
            <a:ext cx="900000" cy="900000"/>
          </a:xfrm>
        </p:spPr>
        <p:txBody>
          <a:bodyPr/>
          <a:lstStyle/>
          <a:p>
            <a:r>
              <a:rPr lang="nl-BE"/>
              <a:t> </a:t>
            </a:r>
          </a:p>
        </p:txBody>
      </p:sp>
      <p:sp>
        <p:nvSpPr>
          <p:cNvPr id="33" name="Online Image Placeholder 16">
            <a:extLst>
              <a:ext uri="{FF2B5EF4-FFF2-40B4-BE49-F238E27FC236}">
                <a16:creationId xmlns:a16="http://schemas.microsoft.com/office/drawing/2014/main" id="{1CDE10C2-BA14-4E9C-AE63-B4D5DF640580}"/>
              </a:ext>
            </a:extLst>
          </p:cNvPr>
          <p:cNvSpPr>
            <a:spLocks noGrp="1"/>
          </p:cNvSpPr>
          <p:nvPr>
            <p:ph type="clipArt" sz="quarter" idx="28" hasCustomPrompt="1"/>
          </p:nvPr>
        </p:nvSpPr>
        <p:spPr>
          <a:xfrm>
            <a:off x="4314579" y="1714500"/>
            <a:ext cx="900000" cy="900000"/>
          </a:xfrm>
        </p:spPr>
        <p:txBody>
          <a:bodyPr/>
          <a:lstStyle/>
          <a:p>
            <a:r>
              <a:rPr lang="nl-BE"/>
              <a:t> </a:t>
            </a:r>
          </a:p>
        </p:txBody>
      </p:sp>
      <p:sp>
        <p:nvSpPr>
          <p:cNvPr id="34" name="Online Image Placeholder 16">
            <a:extLst>
              <a:ext uri="{FF2B5EF4-FFF2-40B4-BE49-F238E27FC236}">
                <a16:creationId xmlns:a16="http://schemas.microsoft.com/office/drawing/2014/main" id="{7C2AD36D-415D-48BE-AB94-91331126AFA1}"/>
              </a:ext>
            </a:extLst>
          </p:cNvPr>
          <p:cNvSpPr>
            <a:spLocks noGrp="1"/>
          </p:cNvSpPr>
          <p:nvPr>
            <p:ph type="clipArt" sz="quarter" idx="29" hasCustomPrompt="1"/>
          </p:nvPr>
        </p:nvSpPr>
        <p:spPr>
          <a:xfrm>
            <a:off x="6976342" y="1714500"/>
            <a:ext cx="900000" cy="900000"/>
          </a:xfrm>
        </p:spPr>
        <p:txBody>
          <a:bodyPr/>
          <a:lstStyle/>
          <a:p>
            <a:r>
              <a:rPr lang="nl-BE"/>
              <a:t> </a:t>
            </a:r>
          </a:p>
        </p:txBody>
      </p:sp>
      <p:sp>
        <p:nvSpPr>
          <p:cNvPr id="35" name="Online Image Placeholder 16">
            <a:extLst>
              <a:ext uri="{FF2B5EF4-FFF2-40B4-BE49-F238E27FC236}">
                <a16:creationId xmlns:a16="http://schemas.microsoft.com/office/drawing/2014/main" id="{EE73A52C-82A9-47E4-B6DA-E7F7D3C8BC8C}"/>
              </a:ext>
            </a:extLst>
          </p:cNvPr>
          <p:cNvSpPr>
            <a:spLocks noGrp="1"/>
          </p:cNvSpPr>
          <p:nvPr>
            <p:ph type="clipArt" sz="quarter" idx="30" hasCustomPrompt="1"/>
          </p:nvPr>
        </p:nvSpPr>
        <p:spPr>
          <a:xfrm>
            <a:off x="9638105" y="1714500"/>
            <a:ext cx="900000" cy="900000"/>
          </a:xfrm>
        </p:spPr>
        <p:txBody>
          <a:bodyPr/>
          <a:lstStyle/>
          <a:p>
            <a:r>
              <a:rPr lang="nl-B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40223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Tussentitel + Inhoud + Tekstva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troomdiagram: Handmatige invoer 3">
            <a:extLst>
              <a:ext uri="{FF2B5EF4-FFF2-40B4-BE49-F238E27FC236}">
                <a16:creationId xmlns:a16="http://schemas.microsoft.com/office/drawing/2014/main" id="{6F7878C3-37F8-42E2-A6B1-6EE2459B62A5}"/>
              </a:ext>
            </a:extLst>
          </p:cNvPr>
          <p:cNvSpPr/>
          <p:nvPr userDrawn="1"/>
        </p:nvSpPr>
        <p:spPr>
          <a:xfrm rot="16200000">
            <a:off x="5715000" y="380997"/>
            <a:ext cx="6857999" cy="609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0" name="Tijdelijke aanduiding voor inhoud 2">
            <a:extLst>
              <a:ext uri="{FF2B5EF4-FFF2-40B4-BE49-F238E27FC236}">
                <a16:creationId xmlns:a16="http://schemas.microsoft.com/office/drawing/2014/main" id="{C8CDFBAB-2DE5-4AEE-947D-37C2E4EF0F0A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839939" y="1592263"/>
            <a:ext cx="4905542" cy="45847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l-NL"/>
              <a:t>Eerste niveau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9" name="Tijdelijke aanduiding voor inhoud 2">
            <a:extLst>
              <a:ext uri="{FF2B5EF4-FFF2-40B4-BE49-F238E27FC236}">
                <a16:creationId xmlns:a16="http://schemas.microsoft.com/office/drawing/2014/main" id="{93691594-47BC-427F-8BBA-D7A1EAF55FFC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446839" y="736352"/>
            <a:ext cx="4905542" cy="544061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l-NL"/>
              <a:t>Eerste niveau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11" name="Tijdelijke aanduiding voor tekst 9">
            <a:extLst>
              <a:ext uri="{FF2B5EF4-FFF2-40B4-BE49-F238E27FC236}">
                <a16:creationId xmlns:a16="http://schemas.microsoft.com/office/drawing/2014/main" id="{C5A24CB9-ECD1-4A83-B00E-85A4C4BCB33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6613" y="368300"/>
            <a:ext cx="4906800" cy="368052"/>
          </a:xfrm>
        </p:spPr>
        <p:txBody>
          <a:bodyPr anchor="ctr">
            <a:normAutofit/>
          </a:bodyPr>
          <a:lstStyle>
            <a:lvl1pPr>
              <a:defRPr sz="2000" b="0" u="none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nl-BE"/>
              <a:t>BOVENTITEL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64EBC0AB-6766-4F5D-A26C-E71B13B6C3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6612" y="736352"/>
            <a:ext cx="4906800" cy="703511"/>
          </a:xfrm>
          <a:prstGeom prst="rect">
            <a:avLst/>
          </a:prstGeom>
        </p:spPr>
        <p:txBody>
          <a:bodyPr anchor="t"/>
          <a:lstStyle>
            <a:lvl1pPr>
              <a:defRPr/>
            </a:lvl1pPr>
          </a:lstStyle>
          <a:p>
            <a:r>
              <a:rPr lang="nl-NL"/>
              <a:t>Hoofdtitel</a:t>
            </a:r>
            <a:endParaRPr lang="nl-BE"/>
          </a:p>
        </p:txBody>
      </p:sp>
      <p:sp>
        <p:nvSpPr>
          <p:cNvPr id="14" name="Tijdelijke aanduiding voor voettekst 4">
            <a:extLst>
              <a:ext uri="{FF2B5EF4-FFF2-40B4-BE49-F238E27FC236}">
                <a16:creationId xmlns:a16="http://schemas.microsoft.com/office/drawing/2014/main" id="{1A6ED0F1-A7B3-44FA-AED6-57570D85E0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44981"/>
            <a:ext cx="4833425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nl-BE"/>
              <a:t>Voettekst</a:t>
            </a:r>
          </a:p>
        </p:txBody>
      </p:sp>
      <p:sp>
        <p:nvSpPr>
          <p:cNvPr id="15" name="Tijdelijke aanduiding voor dianummer 5">
            <a:extLst>
              <a:ext uri="{FF2B5EF4-FFF2-40B4-BE49-F238E27FC236}">
                <a16:creationId xmlns:a16="http://schemas.microsoft.com/office/drawing/2014/main" id="{26EDFBB5-F609-4AAD-96D6-7DEBAC1310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14012" y="6344982"/>
            <a:ext cx="838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 b="1">
                <a:solidFill>
                  <a:schemeClr val="tx1"/>
                </a:solidFill>
                <a:latin typeface="+mj-lt"/>
              </a:defRPr>
            </a:lvl1pPr>
          </a:lstStyle>
          <a:p>
            <a:fld id="{1EABE038-A425-4CC0-917A-1DC3ED725B2E}" type="slidenum">
              <a:rPr lang="nl-BE" smtClean="0"/>
              <a:pPr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860413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Tussentitel + Foto link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39A00E47-68C0-4DBD-AB0F-CD7342B025E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9788" y="1592263"/>
            <a:ext cx="4906800" cy="460482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l-NL"/>
              <a:t>Eerste niveau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6F45857B-E452-48F1-B0B6-4B82FEC46E0F}"/>
              </a:ext>
            </a:extLst>
          </p:cNvPr>
          <p:cNvSpPr/>
          <p:nvPr userDrawn="1"/>
        </p:nvSpPr>
        <p:spPr>
          <a:xfrm>
            <a:off x="0" y="0"/>
            <a:ext cx="219456" cy="6858000"/>
          </a:xfrm>
          <a:prstGeom prst="rect">
            <a:avLst/>
          </a:prstGeom>
          <a:solidFill>
            <a:srgbClr val="FF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9" name="Tijdelijke aanduiding voor afbeelding 8">
            <a:extLst>
              <a:ext uri="{FF2B5EF4-FFF2-40B4-BE49-F238E27FC236}">
                <a16:creationId xmlns:a16="http://schemas.microsoft.com/office/drawing/2014/main" id="{4A6EAFCF-630E-4828-B0AE-F266C9D2C88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1" y="0"/>
            <a:ext cx="6096000" cy="685800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err="1"/>
              <a:t>Klik</a:t>
            </a:r>
            <a:r>
              <a:rPr lang="en-US"/>
              <a:t> op </a:t>
            </a:r>
            <a:r>
              <a:rPr lang="en-US" err="1"/>
              <a:t>icoon</a:t>
            </a:r>
            <a:r>
              <a:rPr lang="en-US"/>
              <a:t> </a:t>
            </a:r>
            <a:r>
              <a:rPr lang="en-US" err="1"/>
              <a:t>voor</a:t>
            </a:r>
            <a:r>
              <a:rPr lang="en-US"/>
              <a:t> </a:t>
            </a:r>
            <a:r>
              <a:rPr lang="en-US" err="1"/>
              <a:t>foto</a:t>
            </a:r>
            <a:r>
              <a:rPr lang="en-US"/>
              <a:t> (min </a:t>
            </a:r>
            <a:r>
              <a:rPr lang="nl-BE"/>
              <a:t>resolutie </a:t>
            </a:r>
            <a:r>
              <a:rPr lang="en-US"/>
              <a:t>72 DPI</a:t>
            </a:r>
            <a:r>
              <a:rPr lang="nl-BE"/>
              <a:t>)</a:t>
            </a:r>
          </a:p>
        </p:txBody>
      </p:sp>
      <p:sp>
        <p:nvSpPr>
          <p:cNvPr id="12" name="Tijdelijke aanduiding voor tekst 9">
            <a:extLst>
              <a:ext uri="{FF2B5EF4-FFF2-40B4-BE49-F238E27FC236}">
                <a16:creationId xmlns:a16="http://schemas.microsoft.com/office/drawing/2014/main" id="{D2F4A0A4-E99E-4B0A-A8B5-EC694F0B8A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6613" y="368300"/>
            <a:ext cx="4906800" cy="368052"/>
          </a:xfrm>
        </p:spPr>
        <p:txBody>
          <a:bodyPr anchor="ctr">
            <a:normAutofit/>
          </a:bodyPr>
          <a:lstStyle>
            <a:lvl1pPr>
              <a:defRPr sz="2000" b="0" u="none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nl-BE"/>
              <a:t>BOVENTITEL</a:t>
            </a: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2EE646F3-A5C5-40DF-8A05-BBF9145DF4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6612" y="736352"/>
            <a:ext cx="4906800" cy="703511"/>
          </a:xfrm>
          <a:prstGeom prst="rect">
            <a:avLst/>
          </a:prstGeom>
        </p:spPr>
        <p:txBody>
          <a:bodyPr anchor="t"/>
          <a:lstStyle>
            <a:lvl1pPr>
              <a:defRPr/>
            </a:lvl1pPr>
          </a:lstStyle>
          <a:p>
            <a:r>
              <a:rPr lang="nl-NL"/>
              <a:t>Hoofdtitel</a:t>
            </a:r>
            <a:endParaRPr lang="nl-BE"/>
          </a:p>
        </p:txBody>
      </p:sp>
      <p:sp>
        <p:nvSpPr>
          <p:cNvPr id="14" name="Tijdelijke aanduiding voor voettekst 4">
            <a:extLst>
              <a:ext uri="{FF2B5EF4-FFF2-40B4-BE49-F238E27FC236}">
                <a16:creationId xmlns:a16="http://schemas.microsoft.com/office/drawing/2014/main" id="{327E91DB-C2B6-473A-A20A-A5AE3628EE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44981"/>
            <a:ext cx="4833425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nl-BE"/>
              <a:t>Voettekst</a:t>
            </a:r>
          </a:p>
        </p:txBody>
      </p:sp>
      <p:sp>
        <p:nvSpPr>
          <p:cNvPr id="15" name="Tijdelijke aanduiding voor dianummer 5">
            <a:extLst>
              <a:ext uri="{FF2B5EF4-FFF2-40B4-BE49-F238E27FC236}">
                <a16:creationId xmlns:a16="http://schemas.microsoft.com/office/drawing/2014/main" id="{F3DF618A-F0A4-4257-977E-9370603816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14012" y="6344982"/>
            <a:ext cx="838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 b="1">
                <a:solidFill>
                  <a:schemeClr val="tx1"/>
                </a:solidFill>
                <a:latin typeface="+mj-lt"/>
              </a:defRPr>
            </a:lvl1pPr>
          </a:lstStyle>
          <a:p>
            <a:fld id="{1EABE038-A425-4CC0-917A-1DC3ED725B2E}" type="slidenum">
              <a:rPr lang="nl-BE" smtClean="0"/>
              <a:pPr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0478490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">
    <p:bg>
      <p:bgPr>
        <a:solidFill>
          <a:srgbClr val="FFEB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656B493A-0700-4CB6-9422-17D80DF1F1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56698" y="2757195"/>
            <a:ext cx="9595514" cy="1343609"/>
          </a:xfrm>
          <a:solidFill>
            <a:srgbClr val="FFEB00"/>
          </a:solidFill>
        </p:spPr>
        <p:txBody>
          <a:bodyPr anchor="ctr"/>
          <a:lstStyle>
            <a:lvl1pPr marL="0" indent="0" algn="l" defTabSz="914377" rtl="0" eaLnBrk="1" latinLnBrk="0" hangingPunct="1">
              <a:lnSpc>
                <a:spcPct val="100000"/>
              </a:lnSpc>
              <a:buFontTx/>
              <a:buNone/>
              <a:defRPr lang="nl-NL" sz="4800" b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0" indent="0" algn="l" defTabSz="914377" rtl="0" eaLnBrk="1" latinLnBrk="0" hangingPunct="1">
              <a:buFontTx/>
              <a:buNone/>
              <a:defRPr lang="nl-NL" sz="3733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7" rtl="0" eaLnBrk="1" latinLnBrk="0" hangingPunct="1">
              <a:buFontTx/>
              <a:buNone/>
              <a:defRPr lang="nl-NL" sz="3733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77" rtl="0" eaLnBrk="1" latinLnBrk="0" hangingPunct="1">
              <a:buFontTx/>
              <a:buNone/>
              <a:defRPr lang="nl-NL" sz="3733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77" rtl="0" eaLnBrk="1" latinLnBrk="0" hangingPunct="1">
              <a:buFontTx/>
              <a:buNone/>
              <a:defRPr lang="nl-BE" sz="37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nl-NL"/>
              <a:t>Highlight</a:t>
            </a:r>
            <a:endParaRPr lang="nl-BE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F793950-6E94-4C9C-9F08-E5E3DC86771F}"/>
              </a:ext>
            </a:extLst>
          </p:cNvPr>
          <p:cNvCxnSpPr/>
          <p:nvPr userDrawn="1"/>
        </p:nvCxnSpPr>
        <p:spPr>
          <a:xfrm>
            <a:off x="839788" y="2757196"/>
            <a:ext cx="475861" cy="134360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jdelijke aanduiding voor voettekst 4">
            <a:extLst>
              <a:ext uri="{FF2B5EF4-FFF2-40B4-BE49-F238E27FC236}">
                <a16:creationId xmlns:a16="http://schemas.microsoft.com/office/drawing/2014/main" id="{FEADFD0C-1342-4DBE-BBA6-0F8B8EB404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44981"/>
            <a:ext cx="4833425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nl-BE"/>
              <a:t>Voettekst</a:t>
            </a:r>
          </a:p>
        </p:txBody>
      </p:sp>
      <p:sp>
        <p:nvSpPr>
          <p:cNvPr id="7" name="Tijdelijke aanduiding voor dianummer 5">
            <a:extLst>
              <a:ext uri="{FF2B5EF4-FFF2-40B4-BE49-F238E27FC236}">
                <a16:creationId xmlns:a16="http://schemas.microsoft.com/office/drawing/2014/main" id="{05684A5A-EFC0-4F17-B1FF-0499C8B9DB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14012" y="6344982"/>
            <a:ext cx="838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 b="1">
                <a:solidFill>
                  <a:schemeClr val="tx1"/>
                </a:solidFill>
                <a:latin typeface="+mj-lt"/>
              </a:defRPr>
            </a:lvl1pPr>
          </a:lstStyle>
          <a:p>
            <a:fld id="{1EABE038-A425-4CC0-917A-1DC3ED725B2E}" type="slidenum">
              <a:rPr lang="nl-BE" smtClean="0"/>
              <a:pPr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926317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0880DB12-4075-4207-B6AA-7800E4F122E2}"/>
              </a:ext>
            </a:extLst>
          </p:cNvPr>
          <p:cNvSpPr/>
          <p:nvPr userDrawn="1"/>
        </p:nvSpPr>
        <p:spPr>
          <a:xfrm>
            <a:off x="2148289" y="1872866"/>
            <a:ext cx="10043711" cy="27165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180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40CF25B6-16E2-4E2C-A3F5-C4E83127495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467897" y="2192357"/>
            <a:ext cx="8884317" cy="2104220"/>
          </a:xfrm>
        </p:spPr>
        <p:txBody>
          <a:bodyPr anchor="ctr" anchorCtr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4400" b="1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/>
              <a:t>Quote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428D9E02-34B7-4AA9-A820-3BFB70B95D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CC43F41A-8FBB-4AE1-9593-E17E909EE6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ABE038-A425-4CC0-917A-1DC3ED725B2E}" type="slidenum">
              <a:rPr lang="nl-BE" smtClean="0"/>
              <a:t>‹nr.›</a:t>
            </a:fld>
            <a:endParaRPr lang="nl-BE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9554821F-9E1A-4BA4-9134-CC73E4409158}"/>
              </a:ext>
            </a:extLst>
          </p:cNvPr>
          <p:cNvSpPr/>
          <p:nvPr userDrawn="1"/>
        </p:nvSpPr>
        <p:spPr>
          <a:xfrm>
            <a:off x="839788" y="1389235"/>
            <a:ext cx="1037844" cy="749726"/>
          </a:xfrm>
          <a:custGeom>
            <a:avLst/>
            <a:gdLst/>
            <a:ahLst/>
            <a:cxnLst/>
            <a:rect l="l" t="t" r="r" b="b"/>
            <a:pathLst>
              <a:path w="1037844" h="749726">
                <a:moveTo>
                  <a:pt x="959709" y="0"/>
                </a:moveTo>
                <a:lnTo>
                  <a:pt x="1037844" y="100459"/>
                </a:lnTo>
                <a:cubicBezTo>
                  <a:pt x="1008815" y="149138"/>
                  <a:pt x="986413" y="192702"/>
                  <a:pt x="970639" y="231149"/>
                </a:cubicBezTo>
                <a:cubicBezTo>
                  <a:pt x="954865" y="269596"/>
                  <a:pt x="946881" y="306648"/>
                  <a:pt x="946687" y="342305"/>
                </a:cubicBezTo>
                <a:cubicBezTo>
                  <a:pt x="946571" y="372458"/>
                  <a:pt x="953314" y="403309"/>
                  <a:pt x="966918" y="434857"/>
                </a:cubicBezTo>
                <a:cubicBezTo>
                  <a:pt x="980522" y="466406"/>
                  <a:pt x="1001684" y="501908"/>
                  <a:pt x="1030403" y="541363"/>
                </a:cubicBezTo>
                <a:cubicBezTo>
                  <a:pt x="1030170" y="570392"/>
                  <a:pt x="1024589" y="597444"/>
                  <a:pt x="1013660" y="622520"/>
                </a:cubicBezTo>
                <a:cubicBezTo>
                  <a:pt x="1002730" y="647596"/>
                  <a:pt x="987847" y="669533"/>
                  <a:pt x="969011" y="688330"/>
                </a:cubicBezTo>
                <a:cubicBezTo>
                  <a:pt x="950214" y="707166"/>
                  <a:pt x="928277" y="722049"/>
                  <a:pt x="903201" y="732979"/>
                </a:cubicBezTo>
                <a:cubicBezTo>
                  <a:pt x="878125" y="743909"/>
                  <a:pt x="851073" y="749490"/>
                  <a:pt x="822043" y="749722"/>
                </a:cubicBezTo>
                <a:cubicBezTo>
                  <a:pt x="799370" y="749877"/>
                  <a:pt x="775883" y="745846"/>
                  <a:pt x="751583" y="737630"/>
                </a:cubicBezTo>
                <a:cubicBezTo>
                  <a:pt x="727282" y="729413"/>
                  <a:pt x="704260" y="716081"/>
                  <a:pt x="682517" y="697632"/>
                </a:cubicBezTo>
                <a:cubicBezTo>
                  <a:pt x="659883" y="680036"/>
                  <a:pt x="641899" y="656627"/>
                  <a:pt x="628567" y="627404"/>
                </a:cubicBezTo>
                <a:cubicBezTo>
                  <a:pt x="615234" y="598181"/>
                  <a:pt x="608413" y="562679"/>
                  <a:pt x="608103" y="520899"/>
                </a:cubicBezTo>
                <a:cubicBezTo>
                  <a:pt x="608684" y="467452"/>
                  <a:pt x="619614" y="414355"/>
                  <a:pt x="640892" y="361606"/>
                </a:cubicBezTo>
                <a:cubicBezTo>
                  <a:pt x="662169" y="308857"/>
                  <a:pt x="690307" y="259015"/>
                  <a:pt x="725305" y="212080"/>
                </a:cubicBezTo>
                <a:cubicBezTo>
                  <a:pt x="760187" y="165223"/>
                  <a:pt x="797859" y="123597"/>
                  <a:pt x="838321" y="87204"/>
                </a:cubicBezTo>
                <a:cubicBezTo>
                  <a:pt x="878784" y="50811"/>
                  <a:pt x="919247" y="21743"/>
                  <a:pt x="959709" y="0"/>
                </a:cubicBezTo>
                <a:close/>
                <a:moveTo>
                  <a:pt x="349747" y="0"/>
                </a:moveTo>
                <a:lnTo>
                  <a:pt x="429730" y="100459"/>
                </a:lnTo>
                <a:cubicBezTo>
                  <a:pt x="399893" y="149138"/>
                  <a:pt x="377262" y="192702"/>
                  <a:pt x="361837" y="231149"/>
                </a:cubicBezTo>
                <a:cubicBezTo>
                  <a:pt x="346413" y="269596"/>
                  <a:pt x="338662" y="306648"/>
                  <a:pt x="338584" y="342305"/>
                </a:cubicBezTo>
                <a:cubicBezTo>
                  <a:pt x="338391" y="372458"/>
                  <a:pt x="344824" y="403309"/>
                  <a:pt x="357886" y="434857"/>
                </a:cubicBezTo>
                <a:cubicBezTo>
                  <a:pt x="370947" y="466406"/>
                  <a:pt x="391798" y="501908"/>
                  <a:pt x="420440" y="541363"/>
                </a:cubicBezTo>
                <a:cubicBezTo>
                  <a:pt x="420207" y="570392"/>
                  <a:pt x="414626" y="597444"/>
                  <a:pt x="403697" y="622520"/>
                </a:cubicBezTo>
                <a:cubicBezTo>
                  <a:pt x="392767" y="647596"/>
                  <a:pt x="377884" y="669533"/>
                  <a:pt x="359048" y="688330"/>
                </a:cubicBezTo>
                <a:cubicBezTo>
                  <a:pt x="340251" y="707166"/>
                  <a:pt x="318314" y="722049"/>
                  <a:pt x="293238" y="732979"/>
                </a:cubicBezTo>
                <a:cubicBezTo>
                  <a:pt x="268162" y="743909"/>
                  <a:pt x="241110" y="749490"/>
                  <a:pt x="212081" y="749722"/>
                </a:cubicBezTo>
                <a:cubicBezTo>
                  <a:pt x="189408" y="749877"/>
                  <a:pt x="165921" y="745846"/>
                  <a:pt x="141620" y="737630"/>
                </a:cubicBezTo>
                <a:cubicBezTo>
                  <a:pt x="117319" y="729413"/>
                  <a:pt x="94297" y="716081"/>
                  <a:pt x="72554" y="697632"/>
                </a:cubicBezTo>
                <a:cubicBezTo>
                  <a:pt x="50811" y="680036"/>
                  <a:pt x="33371" y="656627"/>
                  <a:pt x="20232" y="627404"/>
                </a:cubicBezTo>
                <a:cubicBezTo>
                  <a:pt x="7093" y="598181"/>
                  <a:pt x="349" y="562679"/>
                  <a:pt x="0" y="520899"/>
                </a:cubicBezTo>
                <a:cubicBezTo>
                  <a:pt x="582" y="467452"/>
                  <a:pt x="11511" y="414355"/>
                  <a:pt x="32789" y="361606"/>
                </a:cubicBezTo>
                <a:cubicBezTo>
                  <a:pt x="54067" y="308857"/>
                  <a:pt x="82205" y="259015"/>
                  <a:pt x="117203" y="212080"/>
                </a:cubicBezTo>
                <a:cubicBezTo>
                  <a:pt x="151193" y="165223"/>
                  <a:pt x="188322" y="123597"/>
                  <a:pt x="228591" y="87204"/>
                </a:cubicBezTo>
                <a:cubicBezTo>
                  <a:pt x="268860" y="50811"/>
                  <a:pt x="309245" y="21743"/>
                  <a:pt x="349747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B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9231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76102AC0-F19C-45A3-9A9D-B0D64DB004C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17714" y="0"/>
            <a:ext cx="8015140" cy="6857999"/>
          </a:xfrm>
          <a:custGeom>
            <a:avLst/>
            <a:gdLst>
              <a:gd name="connsiteX0" fmla="*/ 0 w 8232854"/>
              <a:gd name="connsiteY0" fmla="*/ 0 h 6857999"/>
              <a:gd name="connsiteX1" fmla="*/ 5883438 w 8232854"/>
              <a:gd name="connsiteY1" fmla="*/ 0 h 6857999"/>
              <a:gd name="connsiteX2" fmla="*/ 8232854 w 8232854"/>
              <a:gd name="connsiteY2" fmla="*/ 6844108 h 6857999"/>
              <a:gd name="connsiteX3" fmla="*/ 607 w 8232854"/>
              <a:gd name="connsiteY3" fmla="*/ 6857999 h 6857999"/>
              <a:gd name="connsiteX4" fmla="*/ 0 w 8232854"/>
              <a:gd name="connsiteY4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32854" h="6857999">
                <a:moveTo>
                  <a:pt x="0" y="0"/>
                </a:moveTo>
                <a:lnTo>
                  <a:pt x="5883438" y="0"/>
                </a:lnTo>
                <a:lnTo>
                  <a:pt x="8232854" y="6844108"/>
                </a:lnTo>
                <a:lnTo>
                  <a:pt x="607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err="1"/>
              <a:t>Klik</a:t>
            </a:r>
            <a:r>
              <a:rPr lang="en-US"/>
              <a:t> op </a:t>
            </a:r>
            <a:r>
              <a:rPr lang="en-US" err="1"/>
              <a:t>icoon</a:t>
            </a:r>
            <a:r>
              <a:rPr lang="en-US"/>
              <a:t> </a:t>
            </a:r>
            <a:r>
              <a:rPr lang="en-US" err="1"/>
              <a:t>voor</a:t>
            </a:r>
            <a:r>
              <a:rPr lang="en-US"/>
              <a:t> </a:t>
            </a:r>
            <a:r>
              <a:rPr lang="en-US" err="1"/>
              <a:t>foto</a:t>
            </a:r>
            <a:r>
              <a:rPr lang="en-US"/>
              <a:t> (min </a:t>
            </a:r>
            <a:r>
              <a:rPr lang="nl-BE"/>
              <a:t>resolutie </a:t>
            </a:r>
            <a:r>
              <a:rPr lang="en-US"/>
              <a:t>72 DPI</a:t>
            </a:r>
            <a:r>
              <a:rPr lang="nl-BE"/>
              <a:t>)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428D9E02-34B7-4AA9-A820-3BFB70B95D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CC43F41A-8FBB-4AE1-9593-E17E909EE6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ABE038-A425-4CC0-917A-1DC3ED725B2E}" type="slidenum">
              <a:rPr lang="nl-BE" smtClean="0"/>
              <a:t>‹nr.›</a:t>
            </a:fld>
            <a:endParaRPr lang="nl-BE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938A7250-1A84-484F-8ED9-8FAD13CC72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09771" y="731520"/>
            <a:ext cx="3042442" cy="5469256"/>
          </a:xfrm>
        </p:spPr>
        <p:txBody>
          <a:bodyPr anchor="ctr" anchorCtr="0">
            <a:normAutofit/>
          </a:bodyPr>
          <a:lstStyle>
            <a:lvl1pPr algn="r">
              <a:lnSpc>
                <a:spcPct val="100000"/>
              </a:lnSpc>
              <a:defRPr sz="4400" b="1">
                <a:latin typeface="+mj-lt"/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l-NL"/>
              <a:t>Quote</a:t>
            </a:r>
            <a:endParaRPr lang="nl-BE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52B16C0A-8A9F-4770-8F4E-140648204FC1}"/>
              </a:ext>
            </a:extLst>
          </p:cNvPr>
          <p:cNvSpPr/>
          <p:nvPr userDrawn="1"/>
        </p:nvSpPr>
        <p:spPr>
          <a:xfrm>
            <a:off x="7195010" y="731520"/>
            <a:ext cx="1037844" cy="749726"/>
          </a:xfrm>
          <a:custGeom>
            <a:avLst/>
            <a:gdLst/>
            <a:ahLst/>
            <a:cxnLst/>
            <a:rect l="l" t="t" r="r" b="b"/>
            <a:pathLst>
              <a:path w="1037844" h="749726">
                <a:moveTo>
                  <a:pt x="959709" y="0"/>
                </a:moveTo>
                <a:lnTo>
                  <a:pt x="1037844" y="100459"/>
                </a:lnTo>
                <a:cubicBezTo>
                  <a:pt x="1008815" y="149138"/>
                  <a:pt x="986413" y="192702"/>
                  <a:pt x="970639" y="231149"/>
                </a:cubicBezTo>
                <a:cubicBezTo>
                  <a:pt x="954865" y="269596"/>
                  <a:pt x="946881" y="306648"/>
                  <a:pt x="946687" y="342305"/>
                </a:cubicBezTo>
                <a:cubicBezTo>
                  <a:pt x="946571" y="372458"/>
                  <a:pt x="953314" y="403309"/>
                  <a:pt x="966918" y="434857"/>
                </a:cubicBezTo>
                <a:cubicBezTo>
                  <a:pt x="980522" y="466406"/>
                  <a:pt x="1001684" y="501908"/>
                  <a:pt x="1030403" y="541363"/>
                </a:cubicBezTo>
                <a:cubicBezTo>
                  <a:pt x="1030170" y="570392"/>
                  <a:pt x="1024589" y="597444"/>
                  <a:pt x="1013660" y="622520"/>
                </a:cubicBezTo>
                <a:cubicBezTo>
                  <a:pt x="1002730" y="647596"/>
                  <a:pt x="987847" y="669533"/>
                  <a:pt x="969011" y="688330"/>
                </a:cubicBezTo>
                <a:cubicBezTo>
                  <a:pt x="950214" y="707166"/>
                  <a:pt x="928277" y="722049"/>
                  <a:pt x="903201" y="732979"/>
                </a:cubicBezTo>
                <a:cubicBezTo>
                  <a:pt x="878125" y="743909"/>
                  <a:pt x="851073" y="749490"/>
                  <a:pt x="822043" y="749722"/>
                </a:cubicBezTo>
                <a:cubicBezTo>
                  <a:pt x="799370" y="749877"/>
                  <a:pt x="775883" y="745846"/>
                  <a:pt x="751583" y="737630"/>
                </a:cubicBezTo>
                <a:cubicBezTo>
                  <a:pt x="727282" y="729413"/>
                  <a:pt x="704260" y="716081"/>
                  <a:pt x="682517" y="697632"/>
                </a:cubicBezTo>
                <a:cubicBezTo>
                  <a:pt x="659883" y="680036"/>
                  <a:pt x="641899" y="656627"/>
                  <a:pt x="628567" y="627404"/>
                </a:cubicBezTo>
                <a:cubicBezTo>
                  <a:pt x="615234" y="598181"/>
                  <a:pt x="608413" y="562679"/>
                  <a:pt x="608103" y="520899"/>
                </a:cubicBezTo>
                <a:cubicBezTo>
                  <a:pt x="608684" y="467452"/>
                  <a:pt x="619614" y="414355"/>
                  <a:pt x="640892" y="361606"/>
                </a:cubicBezTo>
                <a:cubicBezTo>
                  <a:pt x="662169" y="308857"/>
                  <a:pt x="690307" y="259015"/>
                  <a:pt x="725305" y="212080"/>
                </a:cubicBezTo>
                <a:cubicBezTo>
                  <a:pt x="760187" y="165223"/>
                  <a:pt x="797859" y="123597"/>
                  <a:pt x="838321" y="87204"/>
                </a:cubicBezTo>
                <a:cubicBezTo>
                  <a:pt x="878784" y="50811"/>
                  <a:pt x="919247" y="21743"/>
                  <a:pt x="959709" y="0"/>
                </a:cubicBezTo>
                <a:close/>
                <a:moveTo>
                  <a:pt x="349747" y="0"/>
                </a:moveTo>
                <a:lnTo>
                  <a:pt x="429730" y="100459"/>
                </a:lnTo>
                <a:cubicBezTo>
                  <a:pt x="399893" y="149138"/>
                  <a:pt x="377262" y="192702"/>
                  <a:pt x="361837" y="231149"/>
                </a:cubicBezTo>
                <a:cubicBezTo>
                  <a:pt x="346413" y="269596"/>
                  <a:pt x="338662" y="306648"/>
                  <a:pt x="338584" y="342305"/>
                </a:cubicBezTo>
                <a:cubicBezTo>
                  <a:pt x="338391" y="372458"/>
                  <a:pt x="344824" y="403309"/>
                  <a:pt x="357886" y="434857"/>
                </a:cubicBezTo>
                <a:cubicBezTo>
                  <a:pt x="370947" y="466406"/>
                  <a:pt x="391798" y="501908"/>
                  <a:pt x="420440" y="541363"/>
                </a:cubicBezTo>
                <a:cubicBezTo>
                  <a:pt x="420207" y="570392"/>
                  <a:pt x="414626" y="597444"/>
                  <a:pt x="403697" y="622520"/>
                </a:cubicBezTo>
                <a:cubicBezTo>
                  <a:pt x="392767" y="647596"/>
                  <a:pt x="377884" y="669533"/>
                  <a:pt x="359048" y="688330"/>
                </a:cubicBezTo>
                <a:cubicBezTo>
                  <a:pt x="340251" y="707166"/>
                  <a:pt x="318314" y="722049"/>
                  <a:pt x="293238" y="732979"/>
                </a:cubicBezTo>
                <a:cubicBezTo>
                  <a:pt x="268162" y="743909"/>
                  <a:pt x="241110" y="749490"/>
                  <a:pt x="212081" y="749722"/>
                </a:cubicBezTo>
                <a:cubicBezTo>
                  <a:pt x="189408" y="749877"/>
                  <a:pt x="165921" y="745846"/>
                  <a:pt x="141620" y="737630"/>
                </a:cubicBezTo>
                <a:cubicBezTo>
                  <a:pt x="117319" y="729413"/>
                  <a:pt x="94297" y="716081"/>
                  <a:pt x="72554" y="697632"/>
                </a:cubicBezTo>
                <a:cubicBezTo>
                  <a:pt x="50811" y="680036"/>
                  <a:pt x="33371" y="656627"/>
                  <a:pt x="20232" y="627404"/>
                </a:cubicBezTo>
                <a:cubicBezTo>
                  <a:pt x="7093" y="598181"/>
                  <a:pt x="349" y="562679"/>
                  <a:pt x="0" y="520899"/>
                </a:cubicBezTo>
                <a:cubicBezTo>
                  <a:pt x="582" y="467452"/>
                  <a:pt x="11511" y="414355"/>
                  <a:pt x="32789" y="361606"/>
                </a:cubicBezTo>
                <a:cubicBezTo>
                  <a:pt x="54067" y="308857"/>
                  <a:pt x="82205" y="259015"/>
                  <a:pt x="117203" y="212080"/>
                </a:cubicBezTo>
                <a:cubicBezTo>
                  <a:pt x="151193" y="165223"/>
                  <a:pt x="188322" y="123597"/>
                  <a:pt x="228591" y="87204"/>
                </a:cubicBezTo>
                <a:cubicBezTo>
                  <a:pt x="268860" y="50811"/>
                  <a:pt x="309245" y="21743"/>
                  <a:pt x="349747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954800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B_algemeen_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E5ED4797-6B38-4DEC-A43D-AF91CC36E67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0" y="0"/>
            <a:ext cx="1747930" cy="6858000"/>
          </a:xfrm>
          <a:prstGeom prst="rect">
            <a:avLst/>
          </a:prstGeom>
        </p:spPr>
      </p:pic>
      <p:sp>
        <p:nvSpPr>
          <p:cNvPr id="11" name="Titel 10">
            <a:extLst>
              <a:ext uri="{FF2B5EF4-FFF2-40B4-BE49-F238E27FC236}">
                <a16:creationId xmlns:a16="http://schemas.microsoft.com/office/drawing/2014/main" id="{2E250162-3FBD-465A-A88D-B1EF97043D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0000" y="720000"/>
            <a:ext cx="9493924" cy="720000"/>
          </a:xfrm>
        </p:spPr>
        <p:txBody>
          <a:bodyPr lIns="0" anchor="ctr" anchorCtr="0">
            <a:normAutofit/>
          </a:bodyPr>
          <a:lstStyle>
            <a:lvl1pPr>
              <a:defRPr sz="36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pic>
        <p:nvPicPr>
          <p:cNvPr id="7" name="Graphic 6">
            <a:hlinkClick r:id="" action="ppaction://noaction"/>
            <a:extLst>
              <a:ext uri="{FF2B5EF4-FFF2-40B4-BE49-F238E27FC236}">
                <a16:creationId xmlns:a16="http://schemas.microsoft.com/office/drawing/2014/main" id="{9428F45E-814A-4F25-BF29-6D4EDF953B7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8775" y="357188"/>
            <a:ext cx="1008000" cy="415060"/>
          </a:xfrm>
          <a:prstGeom prst="rect">
            <a:avLst/>
          </a:prstGeom>
        </p:spPr>
      </p:pic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54FFD4E6-B8F9-4E64-B530-04AF07E085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979999" y="359999"/>
            <a:ext cx="9492863" cy="396000"/>
          </a:xfrm>
        </p:spPr>
        <p:txBody>
          <a:bodyPr anchor="b" anchorCtr="0">
            <a:normAutofit/>
          </a:bodyPr>
          <a:lstStyle>
            <a:lvl1pPr>
              <a:defRPr sz="1200">
                <a:latin typeface="FlandersArtSans-Medium" panose="00000600000000000000" pitchFamily="2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media 3">
            <a:extLst>
              <a:ext uri="{FF2B5EF4-FFF2-40B4-BE49-F238E27FC236}">
                <a16:creationId xmlns:a16="http://schemas.microsoft.com/office/drawing/2014/main" id="{20325337-0119-42F9-AA52-86C80044FD0B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1979613" y="1979613"/>
            <a:ext cx="7390800" cy="4157662"/>
          </a:xfrm>
        </p:spPr>
        <p:txBody>
          <a:bodyPr/>
          <a:lstStyle/>
          <a:p>
            <a:r>
              <a:rPr lang="nl-NL"/>
              <a:t>Klik op het pictogram als u media wilt toevoegen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438443555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1A646AE-525C-4E05-AC23-070AEB611B8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AA4E71-19A2-489E-A860-0F722BD3963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ABE038-A425-4CC0-917A-1DC3ED725B2E}" type="slidenum">
              <a:rPr lang="nl-BE" smtClean="0"/>
              <a:pPr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141915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5B578C3A-70B1-4CC3-B6DF-285E946033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3201" y="0"/>
            <a:ext cx="119888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4BF960-82A5-4285-8E8D-3D38ABFF43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D42BFD9-E786-4CE8-B808-F14E6DDBFF8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nl-BE"/>
              <a:t>Voetteks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744FAA-B041-4107-9B51-26A8D1A19D2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ABE038-A425-4CC0-917A-1DC3ED725B2E}" type="slidenum">
              <a:rPr lang="nl-BE" smtClean="0"/>
              <a:pPr/>
              <a:t>‹nr.›</a:t>
            </a:fld>
            <a:endParaRPr lang="nl-BE"/>
          </a:p>
        </p:txBody>
      </p:sp>
      <p:sp>
        <p:nvSpPr>
          <p:cNvPr id="14" name="Rechthoek 6">
            <a:extLst>
              <a:ext uri="{FF2B5EF4-FFF2-40B4-BE49-F238E27FC236}">
                <a16:creationId xmlns:a16="http://schemas.microsoft.com/office/drawing/2014/main" id="{18BD1D03-02DC-41F4-B683-DD75602FC23A}"/>
              </a:ext>
            </a:extLst>
          </p:cNvPr>
          <p:cNvSpPr/>
          <p:nvPr userDrawn="1"/>
        </p:nvSpPr>
        <p:spPr>
          <a:xfrm>
            <a:off x="0" y="0"/>
            <a:ext cx="219456" cy="6858000"/>
          </a:xfrm>
          <a:prstGeom prst="rect">
            <a:avLst/>
          </a:prstGeom>
          <a:solidFill>
            <a:srgbClr val="FF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097A97DD-ACFA-4032-B2B4-DE6E6DE74FF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592263"/>
            <a:ext cx="10514013" cy="4608513"/>
          </a:xfrm>
        </p:spPr>
        <p:txBody>
          <a:bodyPr numCol="2" spcCol="720000"/>
          <a:lstStyle>
            <a:lvl1pPr marL="414000" indent="-414000">
              <a:spcBef>
                <a:spcPts val="2400"/>
              </a:spcBef>
              <a:buClr>
                <a:schemeClr val="accent4"/>
              </a:buClr>
              <a:buSzPct val="100000"/>
              <a:buFont typeface="+mj-lt"/>
              <a:buAutoNum type="arabicPeriod"/>
              <a:defRPr sz="2800" b="1">
                <a:latin typeface="+mj-lt"/>
              </a:defRPr>
            </a:lvl1pPr>
            <a:lvl2pPr marL="648000">
              <a:defRPr/>
            </a:lvl2pPr>
            <a:lvl3pPr marL="864000">
              <a:defRPr/>
            </a:lvl3pPr>
            <a:lvl4pPr marL="1080000">
              <a:defRPr/>
            </a:lvl4pPr>
            <a:lvl5pPr marL="1296000"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32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jdslij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A222AB-A6A7-4BBD-AC26-A44C502727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6B1B38-DEA4-4A55-809D-15E9FB6068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nl-BE"/>
              <a:t>Voetteks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30AB6F-A9C9-4374-960A-E309A5EFDE7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ABE038-A425-4CC0-917A-1DC3ED725B2E}" type="slidenum">
              <a:rPr lang="nl-BE" smtClean="0"/>
              <a:pPr/>
              <a:t>‹nr.›</a:t>
            </a:fld>
            <a:endParaRPr lang="nl-BE"/>
          </a:p>
        </p:txBody>
      </p:sp>
      <p:sp>
        <p:nvSpPr>
          <p:cNvPr id="12" name="SmartArt Placeholder 11">
            <a:extLst>
              <a:ext uri="{FF2B5EF4-FFF2-40B4-BE49-F238E27FC236}">
                <a16:creationId xmlns:a16="http://schemas.microsoft.com/office/drawing/2014/main" id="{CA428AEB-76E8-4F1F-A696-CC90A0005457}"/>
              </a:ext>
            </a:extLst>
          </p:cNvPr>
          <p:cNvSpPr>
            <a:spLocks noGrp="1"/>
          </p:cNvSpPr>
          <p:nvPr>
            <p:ph type="dgm" sz="quarter" idx="12"/>
          </p:nvPr>
        </p:nvSpPr>
        <p:spPr>
          <a:xfrm>
            <a:off x="2394408" y="1978735"/>
            <a:ext cx="8766928" cy="288000"/>
          </a:xfrm>
        </p:spPr>
        <p:txBody>
          <a:bodyPr/>
          <a:lstStyle/>
          <a:p>
            <a:r>
              <a:rPr lang="nl-NL"/>
              <a:t>Klik op het pictogram om een SmartArt-graphic toe te voegen</a:t>
            </a:r>
            <a:endParaRPr lang="nl-BE"/>
          </a:p>
        </p:txBody>
      </p:sp>
      <p:sp>
        <p:nvSpPr>
          <p:cNvPr id="15" name="Table Placeholder 14">
            <a:extLst>
              <a:ext uri="{FF2B5EF4-FFF2-40B4-BE49-F238E27FC236}">
                <a16:creationId xmlns:a16="http://schemas.microsoft.com/office/drawing/2014/main" id="{B6F23DDE-9419-4249-A153-DC47F37D8CEF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962340" y="2361005"/>
            <a:ext cx="10267321" cy="3723272"/>
          </a:xfrm>
        </p:spPr>
        <p:txBody>
          <a:bodyPr/>
          <a:lstStyle/>
          <a:p>
            <a:r>
              <a:rPr lang="nl-NL"/>
              <a:t>Klik op het pictogram als u een tabel wilt toevoegen</a:t>
            </a:r>
            <a:endParaRPr lang="nl-BE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41A74B6-DD02-4BC3-A81B-F28A17EBC5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394408" y="2840846"/>
            <a:ext cx="1063624" cy="288000"/>
          </a:xfrm>
          <a:prstGeom prst="roundRect">
            <a:avLst>
              <a:gd name="adj" fmla="val 9167"/>
            </a:avLst>
          </a:prstGeom>
          <a:solidFill>
            <a:schemeClr val="accent4"/>
          </a:solidFill>
        </p:spPr>
        <p:txBody>
          <a:bodyPr wrap="square" lIns="72000" tIns="72000" rIns="72000" bIns="72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37" name="Text Placeholder 16">
            <a:extLst>
              <a:ext uri="{FF2B5EF4-FFF2-40B4-BE49-F238E27FC236}">
                <a16:creationId xmlns:a16="http://schemas.microsoft.com/office/drawing/2014/main" id="{388766CC-1C6B-4250-BC09-5F5E195A870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394408" y="4108605"/>
            <a:ext cx="1063624" cy="288000"/>
          </a:xfrm>
          <a:prstGeom prst="roundRect">
            <a:avLst>
              <a:gd name="adj" fmla="val 9167"/>
            </a:avLst>
          </a:prstGeom>
          <a:solidFill>
            <a:schemeClr val="accent2"/>
          </a:solidFill>
        </p:spPr>
        <p:txBody>
          <a:bodyPr wrap="square" lIns="72000" tIns="72000" rIns="72000" bIns="72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38" name="Text Placeholder 16">
            <a:extLst>
              <a:ext uri="{FF2B5EF4-FFF2-40B4-BE49-F238E27FC236}">
                <a16:creationId xmlns:a16="http://schemas.microsoft.com/office/drawing/2014/main" id="{8441DAEC-D24A-4E24-A402-1CC47108088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394408" y="5339805"/>
            <a:ext cx="1063624" cy="288000"/>
          </a:xfrm>
          <a:prstGeom prst="roundRect">
            <a:avLst>
              <a:gd name="adj" fmla="val 9167"/>
            </a:avLst>
          </a:prstGeom>
          <a:solidFill>
            <a:schemeClr val="accent1"/>
          </a:solidFill>
        </p:spPr>
        <p:txBody>
          <a:bodyPr wrap="square" lIns="72000" tIns="72000" rIns="72000" bIns="72000" anchor="ctr">
            <a:noAutofit/>
          </a:bodyPr>
          <a:lstStyle>
            <a:lvl1pPr algn="ctr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C6C7B9BF-9096-4141-900E-0C07FD04B63E}"/>
              </a:ext>
            </a:extLst>
          </p:cNvPr>
          <p:cNvSpPr>
            <a:spLocks noGrp="1" noChangeAspect="1"/>
          </p:cNvSpPr>
          <p:nvPr>
            <p:ph type="body" sz="quarter" idx="17"/>
          </p:nvPr>
        </p:nvSpPr>
        <p:spPr>
          <a:xfrm>
            <a:off x="4890100" y="2473081"/>
            <a:ext cx="894556" cy="1023530"/>
          </a:xfrm>
          <a:custGeom>
            <a:avLst/>
            <a:gdLst>
              <a:gd name="connsiteX0" fmla="*/ 162767 w 889104"/>
              <a:gd name="connsiteY0" fmla="*/ 0 h 1017292"/>
              <a:gd name="connsiteX1" fmla="*/ 889104 w 889104"/>
              <a:gd name="connsiteY1" fmla="*/ 508168 h 1017292"/>
              <a:gd name="connsiteX2" fmla="*/ 160857 w 889104"/>
              <a:gd name="connsiteY2" fmla="*/ 1017292 h 1017292"/>
              <a:gd name="connsiteX3" fmla="*/ 0 w 889104"/>
              <a:gd name="connsiteY3" fmla="*/ 790908 h 1017292"/>
              <a:gd name="connsiteX4" fmla="*/ 403670 w 889104"/>
              <a:gd name="connsiteY4" fmla="*/ 508168 h 1017292"/>
              <a:gd name="connsiteX5" fmla="*/ 956 w 889104"/>
              <a:gd name="connsiteY5" fmla="*/ 226383 h 10172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89104" h="1017292">
                <a:moveTo>
                  <a:pt x="162767" y="0"/>
                </a:moveTo>
                <a:lnTo>
                  <a:pt x="889104" y="508168"/>
                </a:lnTo>
                <a:lnTo>
                  <a:pt x="160857" y="1017292"/>
                </a:lnTo>
                <a:lnTo>
                  <a:pt x="0" y="790908"/>
                </a:lnTo>
                <a:lnTo>
                  <a:pt x="403670" y="508168"/>
                </a:lnTo>
                <a:lnTo>
                  <a:pt x="956" y="226383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none" lIns="72000" tIns="72000" rIns="72000" bIns="72000" anchor="ctr">
            <a:noAutofit/>
          </a:bodyPr>
          <a:lstStyle>
            <a:lvl1pPr algn="ctr">
              <a:defRPr sz="1400" b="1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B6A5EC07-BCB1-49B4-8C03-DA027A35A7E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394408" y="1678598"/>
            <a:ext cx="522000" cy="245419"/>
          </a:xfrm>
          <a:prstGeom prst="roundRect">
            <a:avLst>
              <a:gd name="adj" fmla="val 9167"/>
            </a:avLst>
          </a:prstGeom>
          <a:solidFill>
            <a:schemeClr val="accent1"/>
          </a:solidFill>
        </p:spPr>
        <p:txBody>
          <a:bodyPr wrap="square" lIns="72000" tIns="72000" rIns="72000" bIns="72000" anchor="ctr">
            <a:noAutofit/>
          </a:bodyPr>
          <a:lstStyle>
            <a:lvl1pPr algn="ctr">
              <a:defRPr sz="1400" b="1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err="1"/>
              <a:t>jaar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219685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68E365-9778-4C40-AA58-C17DCFF706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7A015D-CC98-4ECA-BDBA-F0297C2169B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16A5E5-BDF0-4E7D-803E-FE61AE47C41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ABE038-A425-4CC0-917A-1DC3ED725B2E}" type="slidenum">
              <a:rPr lang="nl-BE" smtClean="0"/>
              <a:pPr/>
              <a:t>‹nr.›</a:t>
            </a:fld>
            <a:endParaRPr lang="nl-BE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3D95701-A0B9-4CE4-8280-12966CBFBB4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592263"/>
            <a:ext cx="10514013" cy="4608513"/>
          </a:xfrm>
        </p:spPr>
        <p:txBody>
          <a:bodyPr/>
          <a:lstStyle>
            <a:lvl1pPr marL="396000" indent="-396000">
              <a:buSzPct val="114000"/>
              <a:buFontTx/>
              <a:buBlip>
                <a:blip r:embed="rId2"/>
              </a:buBlip>
              <a:defRPr sz="2800"/>
            </a:lvl1pPr>
            <a:lvl2pPr marL="648000">
              <a:defRPr/>
            </a:lvl2pPr>
            <a:lvl3pPr marL="864000">
              <a:defRPr/>
            </a:lvl3pPr>
            <a:lvl4pPr marL="1080000">
              <a:defRPr/>
            </a:lvl4pPr>
            <a:lvl5pPr marL="1296000"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053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Tussentitel + Foto Code Shap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20">
            <a:extLst>
              <a:ext uri="{FF2B5EF4-FFF2-40B4-BE49-F238E27FC236}">
                <a16:creationId xmlns:a16="http://schemas.microsoft.com/office/drawing/2014/main" id="{7FA0B71D-8A8D-4470-A5F4-C62381A5019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707982" y="2009391"/>
            <a:ext cx="4644231" cy="2506662"/>
            <a:chOff x="5283199" y="2561298"/>
            <a:chExt cx="4282210" cy="2311266"/>
          </a:xfrm>
          <a:solidFill>
            <a:schemeClr val="accent1"/>
          </a:solidFill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D9E1058-C866-4C03-AF09-B64706C4C549}"/>
                </a:ext>
              </a:extLst>
            </p:cNvPr>
            <p:cNvSpPr/>
            <p:nvPr/>
          </p:nvSpPr>
          <p:spPr>
            <a:xfrm>
              <a:off x="5283199" y="2561298"/>
              <a:ext cx="2773520" cy="2311266"/>
            </a:xfrm>
            <a:custGeom>
              <a:avLst/>
              <a:gdLst>
                <a:gd name="connsiteX0" fmla="*/ 2773520 w 2773520"/>
                <a:gd name="connsiteY0" fmla="*/ 141189 h 2311266"/>
                <a:gd name="connsiteX1" fmla="*/ 1983425 w 2773520"/>
                <a:gd name="connsiteY1" fmla="*/ 2311266 h 2311266"/>
                <a:gd name="connsiteX2" fmla="*/ 1596567 w 2773520"/>
                <a:gd name="connsiteY2" fmla="*/ 2170077 h 2311266"/>
                <a:gd name="connsiteX3" fmla="*/ 2386380 w 2773520"/>
                <a:gd name="connsiteY3" fmla="*/ 0 h 2311266"/>
                <a:gd name="connsiteX4" fmla="*/ 2773520 w 2773520"/>
                <a:gd name="connsiteY4" fmla="*/ 141189 h 2311266"/>
                <a:gd name="connsiteX5" fmla="*/ 1073603 w 2773520"/>
                <a:gd name="connsiteY5" fmla="*/ 497268 h 2311266"/>
                <a:gd name="connsiteX6" fmla="*/ 1312777 w 2773520"/>
                <a:gd name="connsiteY6" fmla="*/ 831886 h 2311266"/>
                <a:gd name="connsiteX7" fmla="*/ 717523 w 2773520"/>
                <a:gd name="connsiteY7" fmla="*/ 1248394 h 2311266"/>
                <a:gd name="connsiteX8" fmla="*/ 1314189 w 2773520"/>
                <a:gd name="connsiteY8" fmla="*/ 1666314 h 2311266"/>
                <a:gd name="connsiteX9" fmla="*/ 1076426 w 2773520"/>
                <a:gd name="connsiteY9" fmla="*/ 2000933 h 2311266"/>
                <a:gd name="connsiteX10" fmla="*/ 0 w 2773520"/>
                <a:gd name="connsiteY10" fmla="*/ 1248394 h 2311266"/>
                <a:gd name="connsiteX11" fmla="*/ 1073603 w 2773520"/>
                <a:gd name="connsiteY11" fmla="*/ 497268 h 2311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73520" h="2311266">
                  <a:moveTo>
                    <a:pt x="2773520" y="141189"/>
                  </a:moveTo>
                  <a:lnTo>
                    <a:pt x="1983425" y="2311266"/>
                  </a:lnTo>
                  <a:lnTo>
                    <a:pt x="1596567" y="2170077"/>
                  </a:lnTo>
                  <a:lnTo>
                    <a:pt x="2386380" y="0"/>
                  </a:lnTo>
                  <a:lnTo>
                    <a:pt x="2773520" y="141189"/>
                  </a:lnTo>
                  <a:close/>
                  <a:moveTo>
                    <a:pt x="1073603" y="497268"/>
                  </a:moveTo>
                  <a:lnTo>
                    <a:pt x="1312777" y="831886"/>
                  </a:lnTo>
                  <a:lnTo>
                    <a:pt x="717523" y="1248394"/>
                  </a:lnTo>
                  <a:lnTo>
                    <a:pt x="1314189" y="1666314"/>
                  </a:lnTo>
                  <a:lnTo>
                    <a:pt x="1076426" y="2000933"/>
                  </a:lnTo>
                  <a:lnTo>
                    <a:pt x="0" y="1248394"/>
                  </a:lnTo>
                  <a:lnTo>
                    <a:pt x="1073603" y="497268"/>
                  </a:lnTo>
                  <a:close/>
                </a:path>
              </a:pathLst>
            </a:custGeom>
            <a:grpFill/>
            <a:ln w="282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1200" cap="none" spc="0" normalizeH="0" baseline="0" noProof="0">
                <a:ln>
                  <a:noFill/>
                </a:ln>
                <a:solidFill>
                  <a:srgbClr val="373636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B58E1EB3-419F-4F98-AF8B-5CC9CE565401}"/>
                </a:ext>
              </a:extLst>
            </p:cNvPr>
            <p:cNvSpPr/>
            <p:nvPr/>
          </p:nvSpPr>
          <p:spPr>
            <a:xfrm>
              <a:off x="8251220" y="3044141"/>
              <a:ext cx="1314189" cy="1503664"/>
            </a:xfrm>
            <a:custGeom>
              <a:avLst/>
              <a:gdLst>
                <a:gd name="connsiteX0" fmla="*/ 0 w 1314189"/>
                <a:gd name="connsiteY0" fmla="*/ 1169046 h 1503664"/>
                <a:gd name="connsiteX1" fmla="*/ 596666 w 1314189"/>
                <a:gd name="connsiteY1" fmla="*/ 751126 h 1503664"/>
                <a:gd name="connsiteX2" fmla="*/ 1412 w 1314189"/>
                <a:gd name="connsiteY2" fmla="*/ 334618 h 1503664"/>
                <a:gd name="connsiteX3" fmla="*/ 240586 w 1314189"/>
                <a:gd name="connsiteY3" fmla="*/ 0 h 1503664"/>
                <a:gd name="connsiteX4" fmla="*/ 1314189 w 1314189"/>
                <a:gd name="connsiteY4" fmla="*/ 751126 h 1503664"/>
                <a:gd name="connsiteX5" fmla="*/ 237763 w 1314189"/>
                <a:gd name="connsiteY5" fmla="*/ 1503665 h 1503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14189" h="1503664">
                  <a:moveTo>
                    <a:pt x="0" y="1169046"/>
                  </a:moveTo>
                  <a:lnTo>
                    <a:pt x="596666" y="751126"/>
                  </a:lnTo>
                  <a:lnTo>
                    <a:pt x="1412" y="334618"/>
                  </a:lnTo>
                  <a:lnTo>
                    <a:pt x="240586" y="0"/>
                  </a:lnTo>
                  <a:lnTo>
                    <a:pt x="1314189" y="751126"/>
                  </a:lnTo>
                  <a:lnTo>
                    <a:pt x="237763" y="1503665"/>
                  </a:lnTo>
                  <a:close/>
                </a:path>
              </a:pathLst>
            </a:custGeom>
            <a:grpFill/>
            <a:ln w="282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1200" cap="none" spc="0" normalizeH="0" baseline="0" noProof="0">
                <a:ln>
                  <a:noFill/>
                </a:ln>
                <a:solidFill>
                  <a:srgbClr val="373636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7" name="Rechthoek 6">
            <a:extLst>
              <a:ext uri="{FF2B5EF4-FFF2-40B4-BE49-F238E27FC236}">
                <a16:creationId xmlns:a16="http://schemas.microsoft.com/office/drawing/2014/main" id="{6F45857B-E452-48F1-B0B6-4B82FEC46E0F}"/>
              </a:ext>
            </a:extLst>
          </p:cNvPr>
          <p:cNvSpPr/>
          <p:nvPr userDrawn="1"/>
        </p:nvSpPr>
        <p:spPr>
          <a:xfrm>
            <a:off x="0" y="0"/>
            <a:ext cx="219456" cy="6858000"/>
          </a:xfrm>
          <a:prstGeom prst="rect">
            <a:avLst/>
          </a:prstGeom>
          <a:solidFill>
            <a:srgbClr val="FF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1FFC41D3-74EC-4786-913E-170737D7DD2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715699" y="1049956"/>
            <a:ext cx="3858332" cy="4562935"/>
          </a:xfrm>
          <a:custGeom>
            <a:avLst/>
            <a:gdLst>
              <a:gd name="connsiteX0" fmla="*/ 730069 w 3858332"/>
              <a:gd name="connsiteY0" fmla="*/ 0 h 4562935"/>
              <a:gd name="connsiteX1" fmla="*/ 2483194 w 3858332"/>
              <a:gd name="connsiteY1" fmla="*/ 1226541 h 4562935"/>
              <a:gd name="connsiteX2" fmla="*/ 1723825 w 3858332"/>
              <a:gd name="connsiteY2" fmla="*/ 3312972 h 4562935"/>
              <a:gd name="connsiteX3" fmla="*/ 2143388 w 3858332"/>
              <a:gd name="connsiteY3" fmla="*/ 3466097 h 4562935"/>
              <a:gd name="connsiteX4" fmla="*/ 2862229 w 3858332"/>
              <a:gd name="connsiteY4" fmla="*/ 1491726 h 4562935"/>
              <a:gd name="connsiteX5" fmla="*/ 3264711 w 3858332"/>
              <a:gd name="connsiteY5" fmla="*/ 1773315 h 4562935"/>
              <a:gd name="connsiteX6" fmla="*/ 3212754 w 3858332"/>
              <a:gd name="connsiteY6" fmla="*/ 1846005 h 4562935"/>
              <a:gd name="connsiteX7" fmla="*/ 3858332 w 3858332"/>
              <a:gd name="connsiteY7" fmla="*/ 2297725 h 4562935"/>
              <a:gd name="connsiteX8" fmla="*/ 3211223 w 3858332"/>
              <a:gd name="connsiteY8" fmla="*/ 2750976 h 4562935"/>
              <a:gd name="connsiteX9" fmla="*/ 3245106 w 3858332"/>
              <a:gd name="connsiteY9" fmla="*/ 2798662 h 4562935"/>
              <a:gd name="connsiteX10" fmla="*/ 721502 w 3858332"/>
              <a:gd name="connsiteY10" fmla="*/ 4562935 h 4562935"/>
              <a:gd name="connsiteX11" fmla="*/ 0 w 3858332"/>
              <a:gd name="connsiteY11" fmla="*/ 3547520 h 4562935"/>
              <a:gd name="connsiteX12" fmla="*/ 877975 w 3858332"/>
              <a:gd name="connsiteY12" fmla="*/ 2932564 h 4562935"/>
              <a:gd name="connsiteX13" fmla="*/ 1159711 w 3858332"/>
              <a:gd name="connsiteY13" fmla="*/ 3129528 h 4562935"/>
              <a:gd name="connsiteX14" fmla="*/ 1417574 w 3858332"/>
              <a:gd name="connsiteY14" fmla="*/ 2766621 h 4562935"/>
              <a:gd name="connsiteX15" fmla="*/ 1266234 w 3858332"/>
              <a:gd name="connsiteY15" fmla="*/ 2660618 h 4562935"/>
              <a:gd name="connsiteX16" fmla="*/ 1810608 w 3858332"/>
              <a:gd name="connsiteY16" fmla="*/ 2279324 h 4562935"/>
              <a:gd name="connsiteX17" fmla="*/ 1314865 w 3858332"/>
              <a:gd name="connsiteY17" fmla="*/ 1932445 h 4562935"/>
              <a:gd name="connsiteX18" fmla="*/ 1416043 w 3858332"/>
              <a:gd name="connsiteY18" fmla="*/ 1861649 h 4562935"/>
              <a:gd name="connsiteX19" fmla="*/ 1156649 w 3858332"/>
              <a:gd name="connsiteY19" fmla="*/ 1498743 h 4562935"/>
              <a:gd name="connsiteX20" fmla="*/ 925829 w 3858332"/>
              <a:gd name="connsiteY20" fmla="*/ 1660231 h 4562935"/>
              <a:gd name="connsiteX21" fmla="*/ 4285 w 3858332"/>
              <a:gd name="connsiteY21" fmla="*/ 1015413 h 45629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3858332" h="4562935">
                <a:moveTo>
                  <a:pt x="730069" y="0"/>
                </a:moveTo>
                <a:lnTo>
                  <a:pt x="2483194" y="1226541"/>
                </a:lnTo>
                <a:lnTo>
                  <a:pt x="1723825" y="3312972"/>
                </a:lnTo>
                <a:lnTo>
                  <a:pt x="2143388" y="3466097"/>
                </a:lnTo>
                <a:lnTo>
                  <a:pt x="2862229" y="1491726"/>
                </a:lnTo>
                <a:lnTo>
                  <a:pt x="3264711" y="1773315"/>
                </a:lnTo>
                <a:lnTo>
                  <a:pt x="3212754" y="1846005"/>
                </a:lnTo>
                <a:lnTo>
                  <a:pt x="3858332" y="2297725"/>
                </a:lnTo>
                <a:lnTo>
                  <a:pt x="3211223" y="2750976"/>
                </a:lnTo>
                <a:lnTo>
                  <a:pt x="3245106" y="2798662"/>
                </a:lnTo>
                <a:lnTo>
                  <a:pt x="721502" y="4562935"/>
                </a:lnTo>
                <a:lnTo>
                  <a:pt x="0" y="3547520"/>
                </a:lnTo>
                <a:lnTo>
                  <a:pt x="877975" y="2932564"/>
                </a:lnTo>
                <a:lnTo>
                  <a:pt x="1159711" y="3129528"/>
                </a:lnTo>
                <a:lnTo>
                  <a:pt x="1417574" y="2766621"/>
                </a:lnTo>
                <a:lnTo>
                  <a:pt x="1266234" y="2660618"/>
                </a:lnTo>
                <a:lnTo>
                  <a:pt x="1810608" y="2279324"/>
                </a:lnTo>
                <a:lnTo>
                  <a:pt x="1314865" y="1932445"/>
                </a:lnTo>
                <a:lnTo>
                  <a:pt x="1416043" y="1861649"/>
                </a:lnTo>
                <a:lnTo>
                  <a:pt x="1156649" y="1498743"/>
                </a:lnTo>
                <a:lnTo>
                  <a:pt x="925829" y="1660231"/>
                </a:lnTo>
                <a:lnTo>
                  <a:pt x="4285" y="10154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err="1"/>
              <a:t>Klik</a:t>
            </a:r>
            <a:r>
              <a:rPr lang="en-US"/>
              <a:t> op </a:t>
            </a:r>
            <a:r>
              <a:rPr lang="en-US" err="1"/>
              <a:t>icoon</a:t>
            </a:r>
            <a:r>
              <a:rPr lang="en-US"/>
              <a:t> </a:t>
            </a:r>
            <a:r>
              <a:rPr lang="en-US" err="1"/>
              <a:t>voor</a:t>
            </a:r>
            <a:r>
              <a:rPr lang="en-US"/>
              <a:t> </a:t>
            </a:r>
            <a:r>
              <a:rPr lang="en-US" err="1"/>
              <a:t>foto</a:t>
            </a:r>
            <a:r>
              <a:rPr lang="en-US"/>
              <a:t> (min </a:t>
            </a:r>
            <a:r>
              <a:rPr lang="nl-BE"/>
              <a:t>resolutie </a:t>
            </a:r>
            <a:r>
              <a:rPr lang="en-US"/>
              <a:t>72 DPI</a:t>
            </a:r>
            <a:r>
              <a:rPr lang="nl-BE"/>
              <a:t>)</a:t>
            </a:r>
          </a:p>
        </p:txBody>
      </p:sp>
      <p:pic>
        <p:nvPicPr>
          <p:cNvPr id="8" name="Picture 7" hidden="1">
            <a:extLst>
              <a:ext uri="{FF2B5EF4-FFF2-40B4-BE49-F238E27FC236}">
                <a16:creationId xmlns:a16="http://schemas.microsoft.com/office/drawing/2014/main" id="{58B05817-F3FA-46BB-B9B1-0872F0D69BE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95852" y="995914"/>
            <a:ext cx="6895292" cy="5862086"/>
          </a:xfrm>
          <a:prstGeom prst="rect">
            <a:avLst/>
          </a:prstGeom>
        </p:spPr>
      </p:pic>
      <p:sp>
        <p:nvSpPr>
          <p:cNvPr id="13" name="Tijdelijke aanduiding voor inhoud 2">
            <a:extLst>
              <a:ext uri="{FF2B5EF4-FFF2-40B4-BE49-F238E27FC236}">
                <a16:creationId xmlns:a16="http://schemas.microsoft.com/office/drawing/2014/main" id="{75AB06CC-800E-4C2D-A84E-6F1C3E1F246F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839939" y="1592263"/>
            <a:ext cx="4905542" cy="45847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l-NL"/>
              <a:t>Eerste niveau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14" name="Tijdelijke aanduiding voor tekst 9">
            <a:extLst>
              <a:ext uri="{FF2B5EF4-FFF2-40B4-BE49-F238E27FC236}">
                <a16:creationId xmlns:a16="http://schemas.microsoft.com/office/drawing/2014/main" id="{6697E777-8604-42A9-8F0B-02333D626B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6613" y="368300"/>
            <a:ext cx="4906800" cy="368052"/>
          </a:xfrm>
        </p:spPr>
        <p:txBody>
          <a:bodyPr anchor="ctr">
            <a:normAutofit/>
          </a:bodyPr>
          <a:lstStyle>
            <a:lvl1pPr>
              <a:defRPr sz="2000" b="0" u="none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nl-BE"/>
              <a:t>BOVENTITEL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B8F964ED-5909-49F8-8F47-BD3F0E493C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6612" y="736352"/>
            <a:ext cx="4906800" cy="703511"/>
          </a:xfrm>
          <a:prstGeom prst="rect">
            <a:avLst/>
          </a:prstGeom>
        </p:spPr>
        <p:txBody>
          <a:bodyPr anchor="t"/>
          <a:lstStyle>
            <a:lvl1pPr>
              <a:defRPr/>
            </a:lvl1pPr>
          </a:lstStyle>
          <a:p>
            <a:r>
              <a:rPr lang="nl-NL"/>
              <a:t>Hoofdtitel</a:t>
            </a:r>
            <a:endParaRPr lang="nl-BE"/>
          </a:p>
        </p:txBody>
      </p:sp>
      <p:sp>
        <p:nvSpPr>
          <p:cNvPr id="16" name="Tijdelijke aanduiding voor voettekst 4">
            <a:extLst>
              <a:ext uri="{FF2B5EF4-FFF2-40B4-BE49-F238E27FC236}">
                <a16:creationId xmlns:a16="http://schemas.microsoft.com/office/drawing/2014/main" id="{3732EE75-B596-422D-B820-F77A1E6943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44981"/>
            <a:ext cx="4833425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nl-BE"/>
              <a:t>Voettekst</a:t>
            </a:r>
          </a:p>
        </p:txBody>
      </p:sp>
      <p:sp>
        <p:nvSpPr>
          <p:cNvPr id="17" name="Tijdelijke aanduiding voor dianummer 5">
            <a:extLst>
              <a:ext uri="{FF2B5EF4-FFF2-40B4-BE49-F238E27FC236}">
                <a16:creationId xmlns:a16="http://schemas.microsoft.com/office/drawing/2014/main" id="{6C3ACB0A-EF63-4EFC-8237-EC902A9AB2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14012" y="6344982"/>
            <a:ext cx="838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 b="1">
                <a:solidFill>
                  <a:schemeClr val="tx1"/>
                </a:solidFill>
                <a:latin typeface="+mj-lt"/>
              </a:defRPr>
            </a:lvl1pPr>
          </a:lstStyle>
          <a:p>
            <a:fld id="{1EABE038-A425-4CC0-917A-1DC3ED725B2E}" type="slidenum">
              <a:rPr lang="nl-BE" smtClean="0"/>
              <a:pPr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0723609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ot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picture containing floor&#10;&#10;Description automatically generated">
            <a:extLst>
              <a:ext uri="{FF2B5EF4-FFF2-40B4-BE49-F238E27FC236}">
                <a16:creationId xmlns:a16="http://schemas.microsoft.com/office/drawing/2014/main" id="{683ED076-46D5-42D9-91B0-E0C40ECCF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219456" y="1"/>
            <a:ext cx="12003104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C52542C1-CDF9-42AF-9ED9-D440E3D3E80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190602" y="2561298"/>
            <a:ext cx="5764429" cy="2311266"/>
            <a:chOff x="5283199" y="2561298"/>
            <a:chExt cx="5764429" cy="2311266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142D1342-C18C-40BB-912C-F86D1E706C6F}"/>
                </a:ext>
              </a:extLst>
            </p:cNvPr>
            <p:cNvSpPr/>
            <p:nvPr/>
          </p:nvSpPr>
          <p:spPr>
            <a:xfrm>
              <a:off x="5283199" y="2561298"/>
              <a:ext cx="2773520" cy="2311266"/>
            </a:xfrm>
            <a:custGeom>
              <a:avLst/>
              <a:gdLst>
                <a:gd name="connsiteX0" fmla="*/ 2773520 w 2773520"/>
                <a:gd name="connsiteY0" fmla="*/ 141189 h 2311266"/>
                <a:gd name="connsiteX1" fmla="*/ 1983425 w 2773520"/>
                <a:gd name="connsiteY1" fmla="*/ 2311266 h 2311266"/>
                <a:gd name="connsiteX2" fmla="*/ 1596567 w 2773520"/>
                <a:gd name="connsiteY2" fmla="*/ 2170077 h 2311266"/>
                <a:gd name="connsiteX3" fmla="*/ 2386380 w 2773520"/>
                <a:gd name="connsiteY3" fmla="*/ 0 h 2311266"/>
                <a:gd name="connsiteX4" fmla="*/ 2773520 w 2773520"/>
                <a:gd name="connsiteY4" fmla="*/ 141189 h 2311266"/>
                <a:gd name="connsiteX5" fmla="*/ 1073603 w 2773520"/>
                <a:gd name="connsiteY5" fmla="*/ 497268 h 2311266"/>
                <a:gd name="connsiteX6" fmla="*/ 1312777 w 2773520"/>
                <a:gd name="connsiteY6" fmla="*/ 831886 h 2311266"/>
                <a:gd name="connsiteX7" fmla="*/ 717523 w 2773520"/>
                <a:gd name="connsiteY7" fmla="*/ 1248394 h 2311266"/>
                <a:gd name="connsiteX8" fmla="*/ 1314189 w 2773520"/>
                <a:gd name="connsiteY8" fmla="*/ 1666314 h 2311266"/>
                <a:gd name="connsiteX9" fmla="*/ 1076426 w 2773520"/>
                <a:gd name="connsiteY9" fmla="*/ 2000933 h 2311266"/>
                <a:gd name="connsiteX10" fmla="*/ 0 w 2773520"/>
                <a:gd name="connsiteY10" fmla="*/ 1248394 h 2311266"/>
                <a:gd name="connsiteX11" fmla="*/ 1073603 w 2773520"/>
                <a:gd name="connsiteY11" fmla="*/ 497268 h 2311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73520" h="2311266">
                  <a:moveTo>
                    <a:pt x="2773520" y="141189"/>
                  </a:moveTo>
                  <a:lnTo>
                    <a:pt x="1983425" y="2311266"/>
                  </a:lnTo>
                  <a:lnTo>
                    <a:pt x="1596567" y="2170077"/>
                  </a:lnTo>
                  <a:lnTo>
                    <a:pt x="2386380" y="0"/>
                  </a:lnTo>
                  <a:lnTo>
                    <a:pt x="2773520" y="141189"/>
                  </a:lnTo>
                  <a:close/>
                  <a:moveTo>
                    <a:pt x="1073603" y="497268"/>
                  </a:moveTo>
                  <a:lnTo>
                    <a:pt x="1312777" y="831886"/>
                  </a:lnTo>
                  <a:lnTo>
                    <a:pt x="717523" y="1248394"/>
                  </a:lnTo>
                  <a:lnTo>
                    <a:pt x="1314189" y="1666314"/>
                  </a:lnTo>
                  <a:lnTo>
                    <a:pt x="1076426" y="2000933"/>
                  </a:lnTo>
                  <a:lnTo>
                    <a:pt x="0" y="1248394"/>
                  </a:lnTo>
                  <a:lnTo>
                    <a:pt x="1073603" y="497268"/>
                  </a:lnTo>
                  <a:close/>
                </a:path>
              </a:pathLst>
            </a:custGeom>
            <a:solidFill>
              <a:srgbClr val="FFF000"/>
            </a:solidFill>
            <a:ln w="282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1200" cap="none" spc="0" normalizeH="0" baseline="0" noProof="0">
                <a:ln>
                  <a:noFill/>
                </a:ln>
                <a:solidFill>
                  <a:srgbClr val="373636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1405EE2-60D1-4C7A-A4B5-697C34C849EF}"/>
                </a:ext>
              </a:extLst>
            </p:cNvPr>
            <p:cNvSpPr/>
            <p:nvPr/>
          </p:nvSpPr>
          <p:spPr>
            <a:xfrm>
              <a:off x="9733439" y="2965098"/>
              <a:ext cx="1314189" cy="1503664"/>
            </a:xfrm>
            <a:custGeom>
              <a:avLst/>
              <a:gdLst>
                <a:gd name="connsiteX0" fmla="*/ 0 w 1314189"/>
                <a:gd name="connsiteY0" fmla="*/ 1169046 h 1503664"/>
                <a:gd name="connsiteX1" fmla="*/ 596666 w 1314189"/>
                <a:gd name="connsiteY1" fmla="*/ 751126 h 1503664"/>
                <a:gd name="connsiteX2" fmla="*/ 1412 w 1314189"/>
                <a:gd name="connsiteY2" fmla="*/ 334618 h 1503664"/>
                <a:gd name="connsiteX3" fmla="*/ 240586 w 1314189"/>
                <a:gd name="connsiteY3" fmla="*/ 0 h 1503664"/>
                <a:gd name="connsiteX4" fmla="*/ 1314189 w 1314189"/>
                <a:gd name="connsiteY4" fmla="*/ 751126 h 1503664"/>
                <a:gd name="connsiteX5" fmla="*/ 237763 w 1314189"/>
                <a:gd name="connsiteY5" fmla="*/ 1503665 h 1503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14189" h="1503664">
                  <a:moveTo>
                    <a:pt x="0" y="1169046"/>
                  </a:moveTo>
                  <a:lnTo>
                    <a:pt x="596666" y="751126"/>
                  </a:lnTo>
                  <a:lnTo>
                    <a:pt x="1412" y="334618"/>
                  </a:lnTo>
                  <a:lnTo>
                    <a:pt x="240586" y="0"/>
                  </a:lnTo>
                  <a:lnTo>
                    <a:pt x="1314189" y="751126"/>
                  </a:lnTo>
                  <a:lnTo>
                    <a:pt x="237763" y="1503665"/>
                  </a:lnTo>
                  <a:close/>
                </a:path>
              </a:pathLst>
            </a:custGeom>
            <a:solidFill>
              <a:srgbClr val="FFF000"/>
            </a:solidFill>
            <a:ln w="282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1200" cap="none" spc="0" normalizeH="0" baseline="0" noProof="0">
                <a:ln>
                  <a:noFill/>
                </a:ln>
                <a:solidFill>
                  <a:srgbClr val="373636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4" name="Rechthoek 6">
            <a:extLst>
              <a:ext uri="{FF2B5EF4-FFF2-40B4-BE49-F238E27FC236}">
                <a16:creationId xmlns:a16="http://schemas.microsoft.com/office/drawing/2014/main" id="{46866368-110F-436E-9B2D-DE05977BE19D}"/>
              </a:ext>
            </a:extLst>
          </p:cNvPr>
          <p:cNvSpPr/>
          <p:nvPr userDrawn="1"/>
        </p:nvSpPr>
        <p:spPr>
          <a:xfrm>
            <a:off x="0" y="0"/>
            <a:ext cx="219456" cy="6858000"/>
          </a:xfrm>
          <a:prstGeom prst="rect">
            <a:avLst/>
          </a:prstGeom>
          <a:solidFill>
            <a:srgbClr val="FF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D7A1FC-C9B7-4EF4-8B3E-1788213793E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9" y="1258113"/>
            <a:ext cx="4200297" cy="2071868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4800" b="1">
                <a:solidFill>
                  <a:schemeClr val="tx1"/>
                </a:solidFill>
              </a:defRPr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6C235BE3-1A57-42B0-A76A-CBCC5A5CB63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298" y="5156522"/>
            <a:ext cx="4148788" cy="1044253"/>
          </a:xfrm>
          <a:prstGeom prst="rect">
            <a:avLst/>
          </a:prstGeom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F3EF43F9-C1BE-4A9F-B44B-5A3FC35C4C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9789" y="3354606"/>
            <a:ext cx="4200297" cy="1455738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5" name="Tijdelijke aanduiding voor dianummer 5">
            <a:extLst>
              <a:ext uri="{FF2B5EF4-FFF2-40B4-BE49-F238E27FC236}">
                <a16:creationId xmlns:a16="http://schemas.microsoft.com/office/drawing/2014/main" id="{4F5F55EB-E944-4493-A42E-018FBF0C76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14012" y="6344982"/>
            <a:ext cx="838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 b="1">
                <a:noFill/>
                <a:latin typeface="+mj-lt"/>
              </a:defRPr>
            </a:lvl1pPr>
          </a:lstStyle>
          <a:p>
            <a:fld id="{1EABE038-A425-4CC0-917A-1DC3ED725B2E}" type="slidenum">
              <a:rPr lang="nl-BE" smtClean="0"/>
              <a:pPr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693876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ot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18B8AE1-9A59-46A6-B320-FCC9A25927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9456" y="0"/>
            <a:ext cx="11972544" cy="6858000"/>
          </a:xfrm>
          <a:prstGeom prst="rect">
            <a:avLst/>
          </a:prstGeom>
        </p:spPr>
      </p:pic>
      <p:sp>
        <p:nvSpPr>
          <p:cNvPr id="14" name="Rechthoek 6">
            <a:extLst>
              <a:ext uri="{FF2B5EF4-FFF2-40B4-BE49-F238E27FC236}">
                <a16:creationId xmlns:a16="http://schemas.microsoft.com/office/drawing/2014/main" id="{46866368-110F-436E-9B2D-DE05977BE19D}"/>
              </a:ext>
            </a:extLst>
          </p:cNvPr>
          <p:cNvSpPr/>
          <p:nvPr userDrawn="1"/>
        </p:nvSpPr>
        <p:spPr>
          <a:xfrm>
            <a:off x="0" y="0"/>
            <a:ext cx="219456" cy="6858000"/>
          </a:xfrm>
          <a:prstGeom prst="rect">
            <a:avLst/>
          </a:prstGeom>
          <a:solidFill>
            <a:srgbClr val="FF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D7A1FC-C9B7-4EF4-8B3E-1788213793E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97400" y="1258113"/>
            <a:ext cx="6754813" cy="389841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r">
              <a:lnSpc>
                <a:spcPct val="100000"/>
              </a:lnSpc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pic>
        <p:nvPicPr>
          <p:cNvPr id="18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24D4B9F4-C9B4-4C0C-B2A0-4661A88B713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47035" y="5599887"/>
            <a:ext cx="2605178" cy="655725"/>
          </a:xfrm>
          <a:prstGeom prst="rect">
            <a:avLst/>
          </a:prstGeom>
        </p:spPr>
      </p:pic>
      <p:sp>
        <p:nvSpPr>
          <p:cNvPr id="8" name="Tijdelijke aanduiding voor dianummer 5">
            <a:extLst>
              <a:ext uri="{FF2B5EF4-FFF2-40B4-BE49-F238E27FC236}">
                <a16:creationId xmlns:a16="http://schemas.microsoft.com/office/drawing/2014/main" id="{55FA1061-F3D8-483D-9603-1D6EF08151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14012" y="6344982"/>
            <a:ext cx="838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 b="1">
                <a:noFill/>
                <a:latin typeface="+mj-lt"/>
              </a:defRPr>
            </a:lvl1pPr>
          </a:lstStyle>
          <a:p>
            <a:fld id="{1EABE038-A425-4CC0-917A-1DC3ED725B2E}" type="slidenum">
              <a:rPr lang="nl-BE" smtClean="0"/>
              <a:pPr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530779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refda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90F16B-3555-4DBB-1EE4-A3FEC2BEB9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nl-BE"/>
              <a:t>Voetteks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19383F-6D40-CE24-B150-C46D0F8FA9B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ABE038-A425-4CC0-917A-1DC3ED725B2E}" type="slidenum">
              <a:rPr lang="nl-BE" smtClean="0"/>
              <a:pPr/>
              <a:t>‹nr.›</a:t>
            </a:fld>
            <a:endParaRPr lang="nl-BE"/>
          </a:p>
        </p:txBody>
      </p:sp>
      <p:pic>
        <p:nvPicPr>
          <p:cNvPr id="5" name="Afbeelding 4" descr="Afbeelding met tekst, persoon, teken, vliegtuig&#10;&#10;Automatisch gegenereerde beschrijving">
            <a:extLst>
              <a:ext uri="{FF2B5EF4-FFF2-40B4-BE49-F238E27FC236}">
                <a16:creationId xmlns:a16="http://schemas.microsoft.com/office/drawing/2014/main" id="{9187D60F-59C9-B4CD-6FAF-2D903FE391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800894"/>
            <a:ext cx="10512425" cy="5256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85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890DE3-CA2F-523C-8219-E828FCBEA7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01FF7A-CD43-E540-AA3B-364D8503E1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0D082E7-C835-210F-F0A5-D8D60DA387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74008-32CF-4789-9AFC-8C209EBA6F45}" type="datetimeFigureOut">
              <a:rPr lang="en-US" smtClean="0"/>
              <a:t>4/24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50DFE7-CB87-4DC8-BAC1-31053B5902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EE5987-1E4D-1986-4743-22BBCBC23B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D71908-F435-49A9-B21F-3C6E9F018522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109037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orpag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Afbeelding 16">
            <a:extLst>
              <a:ext uri="{FF2B5EF4-FFF2-40B4-BE49-F238E27FC236}">
                <a16:creationId xmlns:a16="http://schemas.microsoft.com/office/drawing/2014/main" id="{DC9B652E-EEED-49F2-A7E1-CDB2CA1EC66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64" t="27400" r="2177" b="1994"/>
          <a:stretch/>
        </p:blipFill>
        <p:spPr>
          <a:xfrm>
            <a:off x="0" y="-32657"/>
            <a:ext cx="12193200" cy="5239807"/>
          </a:xfrm>
          <a:prstGeom prst="rect">
            <a:avLst/>
          </a:prstGeom>
        </p:spPr>
      </p:pic>
      <p:pic>
        <p:nvPicPr>
          <p:cNvPr id="3" name="Afbeelding 2">
            <a:extLst>
              <a:ext uri="{FF2B5EF4-FFF2-40B4-BE49-F238E27FC236}">
                <a16:creationId xmlns:a16="http://schemas.microsoft.com/office/drawing/2014/main" id="{1504C38A-C048-4F7B-BE12-F20F4C154D8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2939425"/>
            <a:ext cx="12400029" cy="4535450"/>
          </a:xfrm>
          <a:prstGeom prst="rect">
            <a:avLst/>
          </a:prstGeom>
        </p:spPr>
      </p:pic>
      <p:sp>
        <p:nvSpPr>
          <p:cNvPr id="15" name="TextBox 6">
            <a:extLst>
              <a:ext uri="{FF2B5EF4-FFF2-40B4-BE49-F238E27FC236}">
                <a16:creationId xmlns:a16="http://schemas.microsoft.com/office/drawing/2014/main" id="{E258003E-8830-4CF5-ACCD-F685F338C066}"/>
              </a:ext>
            </a:extLst>
          </p:cNvPr>
          <p:cNvSpPr txBox="1"/>
          <p:nvPr userDrawn="1"/>
        </p:nvSpPr>
        <p:spPr>
          <a:xfrm>
            <a:off x="8238611" y="5832108"/>
            <a:ext cx="3600000" cy="720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/>
            <a:r>
              <a:rPr lang="nl-BE" sz="1800" u="none">
                <a:solidFill>
                  <a:srgbClr val="373737"/>
                </a:solidFill>
                <a:latin typeface="FlandersArtSans-Medium" panose="00000600000000000000" pitchFamily="2" charset="0"/>
                <a:hlinkClick r:id="rId4"/>
              </a:rPr>
              <a:t>binnenland.vlaanderen.be</a:t>
            </a:r>
            <a:endParaRPr lang="nl-BE" sz="1800" u="none">
              <a:solidFill>
                <a:srgbClr val="373737"/>
              </a:solidFill>
              <a:latin typeface="FlandersArtSans-Medium" panose="00000600000000000000" pitchFamily="2" charset="0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BE" sz="1800">
                <a:solidFill>
                  <a:schemeClr val="tx2"/>
                </a:solidFill>
              </a:rPr>
              <a:t>#burgers #bestuur #verbinden</a:t>
            </a: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6B42DCD9-D851-4D77-A5EB-7E23F08E7D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000" y="5778000"/>
            <a:ext cx="5370702" cy="774000"/>
          </a:xfrm>
        </p:spPr>
        <p:txBody>
          <a:bodyPr tIns="0" anchor="b" anchorCtr="0">
            <a:normAutofit/>
          </a:bodyPr>
          <a:lstStyle>
            <a:lvl1pPr>
              <a:lnSpc>
                <a:spcPct val="100000"/>
              </a:lnSpc>
              <a:defRPr sz="1800"/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1C1ACF8B-F1E5-4DA3-8932-3FDFCA4463A7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13200" y="540058"/>
            <a:ext cx="1980000" cy="768493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D9D792B-D741-490B-A147-8994E29CF3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5040000"/>
            <a:ext cx="5370702" cy="720000"/>
          </a:xfrm>
        </p:spPr>
        <p:txBody>
          <a:bodyPr anchor="b" anchorCtr="0">
            <a:normAutofit/>
          </a:bodyPr>
          <a:lstStyle>
            <a:lvl1pPr>
              <a:defRPr sz="2400"/>
            </a:lvl1pPr>
          </a:lstStyle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2170530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B_domein01_lokaal bestu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5354695C-7EAC-4EFF-99BD-7A2D7630696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0" y="0"/>
            <a:ext cx="1747930" cy="6858000"/>
          </a:xfrm>
          <a:prstGeom prst="rect">
            <a:avLst/>
          </a:prstGeom>
        </p:spPr>
      </p:pic>
      <p:pic>
        <p:nvPicPr>
          <p:cNvPr id="13" name="Graphic 12">
            <a:hlinkClick r:id="" action="ppaction://noaction"/>
            <a:extLst>
              <a:ext uri="{FF2B5EF4-FFF2-40B4-BE49-F238E27FC236}">
                <a16:creationId xmlns:a16="http://schemas.microsoft.com/office/drawing/2014/main" id="{203E7C5C-880F-4F34-8CCA-DCE31EED4B8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8775" y="357188"/>
            <a:ext cx="1008000" cy="415060"/>
          </a:xfrm>
          <a:prstGeom prst="rect">
            <a:avLst/>
          </a:prstGeom>
        </p:spPr>
      </p:pic>
      <p:sp>
        <p:nvSpPr>
          <p:cNvPr id="9" name="Tekstvak 8">
            <a:extLst>
              <a:ext uri="{FF2B5EF4-FFF2-40B4-BE49-F238E27FC236}">
                <a16:creationId xmlns:a16="http://schemas.microsoft.com/office/drawing/2014/main" id="{49D3F6B6-A1C3-452E-BD84-A98289FF49BA}"/>
              </a:ext>
            </a:extLst>
          </p:cNvPr>
          <p:cNvSpPr txBox="1"/>
          <p:nvPr userDrawn="1"/>
        </p:nvSpPr>
        <p:spPr>
          <a:xfrm rot="1620000">
            <a:off x="290309" y="1385441"/>
            <a:ext cx="1106249" cy="720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>
              <a:lnSpc>
                <a:spcPts val="1400"/>
              </a:lnSpc>
            </a:pPr>
            <a:r>
              <a:rPr lang="nl-BE" sz="1300" spc="-20" baseline="0">
                <a:solidFill>
                  <a:srgbClr val="3C3D3C"/>
                </a:solidFill>
                <a:latin typeface="FlandersArtSans-Medium" panose="00000600000000000000" pitchFamily="2" charset="0"/>
              </a:rPr>
              <a:t>Lokaal</a:t>
            </a:r>
          </a:p>
          <a:p>
            <a:pPr algn="l">
              <a:lnSpc>
                <a:spcPts val="1400"/>
              </a:lnSpc>
            </a:pPr>
            <a:r>
              <a:rPr lang="nl-BE" sz="1300" spc="-20" baseline="0">
                <a:solidFill>
                  <a:srgbClr val="3C3D3C"/>
                </a:solidFill>
                <a:latin typeface="FlandersArtSans-Medium" panose="00000600000000000000" pitchFamily="2" charset="0"/>
              </a:rPr>
              <a:t>  bestuur</a:t>
            </a:r>
          </a:p>
          <a:p>
            <a:pPr algn="l">
              <a:lnSpc>
                <a:spcPts val="1400"/>
              </a:lnSpc>
            </a:pPr>
            <a:r>
              <a:rPr lang="nl-BE" sz="1300" spc="-20" baseline="0">
                <a:solidFill>
                  <a:srgbClr val="3C3D3C"/>
                </a:solidFill>
                <a:latin typeface="FlandersArtSans-Medium" panose="00000600000000000000" pitchFamily="2" charset="0"/>
              </a:rPr>
              <a:t>    _____</a:t>
            </a:r>
          </a:p>
        </p:txBody>
      </p:sp>
      <p:sp>
        <p:nvSpPr>
          <p:cNvPr id="10" name="Titel 10">
            <a:extLst>
              <a:ext uri="{FF2B5EF4-FFF2-40B4-BE49-F238E27FC236}">
                <a16:creationId xmlns:a16="http://schemas.microsoft.com/office/drawing/2014/main" id="{BB00E46C-3D4F-4286-B077-8935A94A9E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0000" y="360000"/>
            <a:ext cx="9492863" cy="1170000"/>
          </a:xfrm>
        </p:spPr>
        <p:txBody>
          <a:bodyPr lIns="0" anchor="ctr" anchorCtr="0">
            <a:normAutofit/>
          </a:bodyPr>
          <a:lstStyle>
            <a:lvl1pPr>
              <a:defRPr sz="36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11" name="Tijdelijke aanduiding voor tekst 2">
            <a:extLst>
              <a:ext uri="{FF2B5EF4-FFF2-40B4-BE49-F238E27FC236}">
                <a16:creationId xmlns:a16="http://schemas.microsoft.com/office/drawing/2014/main" id="{8E44AC07-75B1-45FB-AB42-0803121D65B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80000" y="1980000"/>
            <a:ext cx="9496800" cy="4157275"/>
          </a:xfrm>
        </p:spPr>
        <p:txBody>
          <a:bodyPr lIns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057999547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elpag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95C5BE4F-2A78-4816-845B-9A7B10A0322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0" y="3403260"/>
            <a:ext cx="12187024" cy="345474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A905F8F9-A082-4A0F-8A07-9AA5C01FC1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297642"/>
            <a:ext cx="12193200" cy="2715558"/>
          </a:xfrm>
        </p:spPr>
        <p:txBody>
          <a:bodyPr lIns="720000" tIns="360000" rIns="720000"/>
          <a:lstStyle/>
          <a:p>
            <a:r>
              <a:rPr lang="nl-NL"/>
              <a:t>Klik om stijl te bewerken</a:t>
            </a:r>
            <a:endParaRPr lang="nl-BE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EEE0B56E-E745-4034-9551-E7769C5F32F7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13200" y="540058"/>
            <a:ext cx="1980000" cy="768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1704804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elpagina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2B140009-D296-44AC-9500-69C690B03F1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A905F8F9-A082-4A0F-8A07-9AA5C01FC1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260000"/>
            <a:ext cx="12193200" cy="1890000"/>
          </a:xfrm>
        </p:spPr>
        <p:txBody>
          <a:bodyPr lIns="720000" tIns="180000" rIns="720000"/>
          <a:lstStyle/>
          <a:p>
            <a:r>
              <a:rPr lang="nl-NL"/>
              <a:t>Klik om stijl te bewerken</a:t>
            </a:r>
            <a:endParaRPr lang="nl-BE"/>
          </a:p>
        </p:txBody>
      </p:sp>
      <p:pic>
        <p:nvPicPr>
          <p:cNvPr id="17" name="Graphic 16">
            <a:hlinkClick r:id="rId3" action="ppaction://hlinksldjump"/>
            <a:extLst>
              <a:ext uri="{FF2B5EF4-FFF2-40B4-BE49-F238E27FC236}">
                <a16:creationId xmlns:a16="http://schemas.microsoft.com/office/drawing/2014/main" id="{AC77402D-E395-492E-8E40-C42BA6F6C7FD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4800" y="540000"/>
            <a:ext cx="604550" cy="770400"/>
          </a:xfrm>
          <a:prstGeom prst="rect">
            <a:avLst/>
          </a:prstGeom>
        </p:spPr>
      </p:pic>
      <p:sp>
        <p:nvSpPr>
          <p:cNvPr id="19" name="Tijdelijke aanduiding voor tekst 18">
            <a:extLst>
              <a:ext uri="{FF2B5EF4-FFF2-40B4-BE49-F238E27FC236}">
                <a16:creationId xmlns:a16="http://schemas.microsoft.com/office/drawing/2014/main" id="{14019916-3AE5-40D8-9399-B27DF8CED5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726" y="3150000"/>
            <a:ext cx="10752138" cy="900000"/>
          </a:xfrm>
        </p:spPr>
        <p:txBody>
          <a:bodyPr anchor="ctr" anchorCtr="0"/>
          <a:lstStyle>
            <a:lvl2pPr marL="360000" indent="0">
              <a:buNone/>
              <a:defRPr/>
            </a:lvl2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220960155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B_domein00_algemeen+lij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E5ED4797-6B38-4DEC-A43D-AF91CC36E67D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0" y="0"/>
            <a:ext cx="1747930" cy="6858000"/>
          </a:xfrm>
          <a:prstGeom prst="rect">
            <a:avLst/>
          </a:prstGeom>
        </p:spPr>
      </p:pic>
      <p:sp>
        <p:nvSpPr>
          <p:cNvPr id="11" name="Titel 10">
            <a:extLst>
              <a:ext uri="{FF2B5EF4-FFF2-40B4-BE49-F238E27FC236}">
                <a16:creationId xmlns:a16="http://schemas.microsoft.com/office/drawing/2014/main" id="{2E250162-3FBD-465A-A88D-B1EF97043D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0000" y="357188"/>
            <a:ext cx="9493924" cy="1082812"/>
          </a:xfrm>
        </p:spPr>
        <p:txBody>
          <a:bodyPr lIns="0" anchor="ctr" anchorCtr="0">
            <a:normAutofit/>
          </a:bodyPr>
          <a:lstStyle>
            <a:lvl1pPr>
              <a:defRPr sz="40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1E1B337E-B563-4F3A-9CDE-5329B589DA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80000" y="1980000"/>
            <a:ext cx="9496800" cy="4157275"/>
          </a:xfrm>
        </p:spPr>
        <p:txBody>
          <a:bodyPr lIns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cxnSp>
        <p:nvCxnSpPr>
          <p:cNvPr id="10" name="Rechte verbindingslijn 9">
            <a:extLst>
              <a:ext uri="{FF2B5EF4-FFF2-40B4-BE49-F238E27FC236}">
                <a16:creationId xmlns:a16="http://schemas.microsoft.com/office/drawing/2014/main" id="{E3A148CB-828F-4DFD-AA4C-69725B2E3FBA}"/>
              </a:ext>
            </a:extLst>
          </p:cNvPr>
          <p:cNvCxnSpPr/>
          <p:nvPr userDrawn="1"/>
        </p:nvCxnSpPr>
        <p:spPr>
          <a:xfrm>
            <a:off x="1979999" y="1620000"/>
            <a:ext cx="900000" cy="0"/>
          </a:xfrm>
          <a:prstGeom prst="line">
            <a:avLst/>
          </a:prstGeom>
          <a:ln w="50800">
            <a:solidFill>
              <a:srgbClr val="FFE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3497582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-tekst//geel-grij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Rechte verbindingslijn 7">
            <a:extLst>
              <a:ext uri="{FF2B5EF4-FFF2-40B4-BE49-F238E27FC236}">
                <a16:creationId xmlns:a16="http://schemas.microsoft.com/office/drawing/2014/main" id="{80E438E6-1343-4C50-A189-72BCF2674F20}"/>
              </a:ext>
            </a:extLst>
          </p:cNvPr>
          <p:cNvCxnSpPr/>
          <p:nvPr userDrawn="1"/>
        </p:nvCxnSpPr>
        <p:spPr>
          <a:xfrm>
            <a:off x="720725" y="1440000"/>
            <a:ext cx="900000" cy="0"/>
          </a:xfrm>
          <a:prstGeom prst="line">
            <a:avLst/>
          </a:prstGeom>
          <a:ln w="50800">
            <a:solidFill>
              <a:srgbClr val="FFE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phic 9">
            <a:extLst>
              <a:ext uri="{FF2B5EF4-FFF2-40B4-BE49-F238E27FC236}">
                <a16:creationId xmlns:a16="http://schemas.microsoft.com/office/drawing/2014/main" id="{BA751AC2-9D5E-41BC-899A-2B7DB98B448C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4010025" y="0"/>
            <a:ext cx="8181975" cy="1743075"/>
          </a:xfrm>
          <a:prstGeom prst="rect">
            <a:avLst/>
          </a:prstGeom>
        </p:spPr>
      </p:pic>
      <p:sp>
        <p:nvSpPr>
          <p:cNvPr id="14" name="Titel 13">
            <a:extLst>
              <a:ext uri="{FF2B5EF4-FFF2-40B4-BE49-F238E27FC236}">
                <a16:creationId xmlns:a16="http://schemas.microsoft.com/office/drawing/2014/main" id="{CFFADA01-1A92-42A5-8352-E3EEC3837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392909"/>
            <a:ext cx="10753200" cy="1080000"/>
          </a:xfrm>
        </p:spPr>
        <p:txBody>
          <a:bodyPr anchor="ctr" anchorCtr="0">
            <a:normAutofit/>
          </a:bodyPr>
          <a:lstStyle>
            <a:lvl1pPr>
              <a:defRPr sz="40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15" name="Tijdelijke aanduiding voor tekst 2">
            <a:extLst>
              <a:ext uri="{FF2B5EF4-FFF2-40B4-BE49-F238E27FC236}">
                <a16:creationId xmlns:a16="http://schemas.microsoft.com/office/drawing/2014/main" id="{6A43CE44-E083-4BCC-B28E-A7F4B39010B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725" y="1799999"/>
            <a:ext cx="10752138" cy="3960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00952732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-tekst//ge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65C809DF-DE53-4F87-BA6D-E6C07F856F9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725" y="1799999"/>
            <a:ext cx="10752138" cy="3960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32F63AF-17D1-4117-AD09-4BB236E7B21D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5419725" y="0"/>
            <a:ext cx="6772275" cy="1438275"/>
          </a:xfrm>
          <a:prstGeom prst="rect">
            <a:avLst/>
          </a:prstGeom>
        </p:spPr>
      </p:pic>
      <p:cxnSp>
        <p:nvCxnSpPr>
          <p:cNvPr id="13" name="Rechte verbindingslijn 12">
            <a:extLst>
              <a:ext uri="{FF2B5EF4-FFF2-40B4-BE49-F238E27FC236}">
                <a16:creationId xmlns:a16="http://schemas.microsoft.com/office/drawing/2014/main" id="{D27E50D4-A8DB-4029-9EAD-2DF15AB10517}"/>
              </a:ext>
            </a:extLst>
          </p:cNvPr>
          <p:cNvCxnSpPr/>
          <p:nvPr userDrawn="1"/>
        </p:nvCxnSpPr>
        <p:spPr>
          <a:xfrm>
            <a:off x="720725" y="1440000"/>
            <a:ext cx="900000" cy="0"/>
          </a:xfrm>
          <a:prstGeom prst="line">
            <a:avLst/>
          </a:prstGeom>
          <a:ln w="50800">
            <a:solidFill>
              <a:srgbClr val="FFE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el 13">
            <a:extLst>
              <a:ext uri="{FF2B5EF4-FFF2-40B4-BE49-F238E27FC236}">
                <a16:creationId xmlns:a16="http://schemas.microsoft.com/office/drawing/2014/main" id="{F265506E-0B97-4EC8-A558-3BC473CC55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357189"/>
            <a:ext cx="10753200" cy="1080000"/>
          </a:xfrm>
        </p:spPr>
        <p:txBody>
          <a:bodyPr anchor="ctr" anchorCtr="0">
            <a:normAutofit/>
          </a:bodyPr>
          <a:lstStyle>
            <a:lvl1pPr>
              <a:defRPr sz="40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080417286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+tekst+foto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>
            <a:extLst>
              <a:ext uri="{FF2B5EF4-FFF2-40B4-BE49-F238E27FC236}">
                <a16:creationId xmlns:a16="http://schemas.microsoft.com/office/drawing/2014/main" id="{6DEC8C36-793F-4F9B-A88C-AE0C41120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2682" b="10797"/>
          <a:stretch/>
        </p:blipFill>
        <p:spPr>
          <a:xfrm>
            <a:off x="4988635" y="844520"/>
            <a:ext cx="7203365" cy="601348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0730FD37-3AFD-4998-A139-53FA093F62F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-1588"/>
            <a:ext cx="12192000" cy="6855016"/>
          </a:xfrm>
          <a:prstGeom prst="rect">
            <a:avLst/>
          </a:prstGeom>
        </p:spPr>
      </p:pic>
      <p:sp>
        <p:nvSpPr>
          <p:cNvPr id="7" name="Titel 10">
            <a:extLst>
              <a:ext uri="{FF2B5EF4-FFF2-40B4-BE49-F238E27FC236}">
                <a16:creationId xmlns:a16="http://schemas.microsoft.com/office/drawing/2014/main" id="{85CA6835-A703-4473-918D-4B2D5488A3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725" y="357188"/>
            <a:ext cx="6286467" cy="1081029"/>
          </a:xfrm>
          <a:noFill/>
        </p:spPr>
        <p:txBody>
          <a:bodyPr lIns="0" tIns="0" anchor="ctr" anchorCtr="0">
            <a:normAutofit/>
          </a:bodyPr>
          <a:lstStyle>
            <a:lvl1pPr algn="l">
              <a:defRPr sz="40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65C809DF-DE53-4F87-BA6D-E6C07F856F9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725" y="1799999"/>
            <a:ext cx="6286467" cy="3960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cxnSp>
        <p:nvCxnSpPr>
          <p:cNvPr id="8" name="Rechte verbindingslijn 7">
            <a:extLst>
              <a:ext uri="{FF2B5EF4-FFF2-40B4-BE49-F238E27FC236}">
                <a16:creationId xmlns:a16="http://schemas.microsoft.com/office/drawing/2014/main" id="{0F0503B9-1B56-4529-B1D3-9550C803D3A4}"/>
              </a:ext>
            </a:extLst>
          </p:cNvPr>
          <p:cNvCxnSpPr/>
          <p:nvPr userDrawn="1"/>
        </p:nvCxnSpPr>
        <p:spPr>
          <a:xfrm>
            <a:off x="720725" y="1440000"/>
            <a:ext cx="900000" cy="0"/>
          </a:xfrm>
          <a:prstGeom prst="line">
            <a:avLst/>
          </a:prstGeom>
          <a:ln w="50800">
            <a:solidFill>
              <a:srgbClr val="FFE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853698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-inh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>
            <a:extLst>
              <a:ext uri="{FF2B5EF4-FFF2-40B4-BE49-F238E27FC236}">
                <a16:creationId xmlns:a16="http://schemas.microsoft.com/office/drawing/2014/main" id="{57E6AD24-FA4A-4487-BA58-93DF9E359D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68" t="6367" r="32979" b="-22"/>
          <a:stretch/>
        </p:blipFill>
        <p:spPr>
          <a:xfrm>
            <a:off x="4859427" y="-1"/>
            <a:ext cx="7332574" cy="6858001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CA72CA81-22B0-4F63-B2EE-5900ACF1692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-1588"/>
            <a:ext cx="12197307" cy="6858000"/>
          </a:xfrm>
          <a:prstGeom prst="rect">
            <a:avLst/>
          </a:prstGeom>
        </p:spPr>
      </p:pic>
      <p:cxnSp>
        <p:nvCxnSpPr>
          <p:cNvPr id="8" name="Rechte verbindingslijn 7">
            <a:extLst>
              <a:ext uri="{FF2B5EF4-FFF2-40B4-BE49-F238E27FC236}">
                <a16:creationId xmlns:a16="http://schemas.microsoft.com/office/drawing/2014/main" id="{80E438E6-1343-4C50-A189-72BCF2674F20}"/>
              </a:ext>
            </a:extLst>
          </p:cNvPr>
          <p:cNvCxnSpPr/>
          <p:nvPr userDrawn="1"/>
        </p:nvCxnSpPr>
        <p:spPr>
          <a:xfrm>
            <a:off x="720725" y="1440000"/>
            <a:ext cx="900000" cy="0"/>
          </a:xfrm>
          <a:prstGeom prst="line">
            <a:avLst/>
          </a:prstGeom>
          <a:ln w="50800">
            <a:solidFill>
              <a:srgbClr val="FFE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el 13">
            <a:extLst>
              <a:ext uri="{FF2B5EF4-FFF2-40B4-BE49-F238E27FC236}">
                <a16:creationId xmlns:a16="http://schemas.microsoft.com/office/drawing/2014/main" id="{CFFADA01-1A92-42A5-8352-E3EEC3837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357189"/>
            <a:ext cx="10753200" cy="1080000"/>
          </a:xfrm>
        </p:spPr>
        <p:txBody>
          <a:bodyPr anchor="ctr" anchorCtr="0">
            <a:normAutofit/>
          </a:bodyPr>
          <a:lstStyle>
            <a:lvl1pPr>
              <a:defRPr sz="40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15" name="Tijdelijke aanduiding voor tekst 2">
            <a:extLst>
              <a:ext uri="{FF2B5EF4-FFF2-40B4-BE49-F238E27FC236}">
                <a16:creationId xmlns:a16="http://schemas.microsoft.com/office/drawing/2014/main" id="{6A43CE44-E083-4BCC-B28E-A7F4B39010B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725" y="1799999"/>
            <a:ext cx="10752138" cy="3960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66271468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-Deelpagina_beleidsveld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2B140009-D296-44AC-9500-69C690B03F1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A905F8F9-A082-4A0F-8A07-9AA5C01FC1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260000"/>
            <a:ext cx="12193200" cy="1890000"/>
          </a:xfrm>
        </p:spPr>
        <p:txBody>
          <a:bodyPr lIns="720000" tIns="180000" rIns="720000"/>
          <a:lstStyle/>
          <a:p>
            <a:r>
              <a:rPr lang="nl-NL"/>
              <a:t>Klik om stijl te bewerken</a:t>
            </a:r>
            <a:endParaRPr lang="nl-BE"/>
          </a:p>
        </p:txBody>
      </p:sp>
      <p:pic>
        <p:nvPicPr>
          <p:cNvPr id="17" name="Graphic 16">
            <a:hlinkClick r:id="rId3" action="ppaction://hlinksldjump"/>
            <a:extLst>
              <a:ext uri="{FF2B5EF4-FFF2-40B4-BE49-F238E27FC236}">
                <a16:creationId xmlns:a16="http://schemas.microsoft.com/office/drawing/2014/main" id="{AC77402D-E395-492E-8E40-C42BA6F6C7FD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4800" y="540000"/>
            <a:ext cx="604550" cy="770400"/>
          </a:xfrm>
          <a:prstGeom prst="rect">
            <a:avLst/>
          </a:prstGeom>
        </p:spPr>
      </p:pic>
      <p:sp>
        <p:nvSpPr>
          <p:cNvPr id="19" name="Tijdelijke aanduiding voor tekst 18">
            <a:extLst>
              <a:ext uri="{FF2B5EF4-FFF2-40B4-BE49-F238E27FC236}">
                <a16:creationId xmlns:a16="http://schemas.microsoft.com/office/drawing/2014/main" id="{14019916-3AE5-40D8-9399-B27DF8CED5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726" y="3150000"/>
            <a:ext cx="10752138" cy="900000"/>
          </a:xfrm>
        </p:spPr>
        <p:txBody>
          <a:bodyPr anchor="ctr" anchorCtr="0"/>
          <a:lstStyle>
            <a:lvl2pPr marL="360000" indent="0">
              <a:buNone/>
              <a:defRPr/>
            </a:lvl2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956887466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-beleidsveld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1CD98730-4EBA-4F15-B71E-0CE22CE43DF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-5306" y="946"/>
            <a:ext cx="12197306" cy="6858000"/>
          </a:xfrm>
          <a:prstGeom prst="rect">
            <a:avLst/>
          </a:prstGeom>
        </p:spPr>
      </p:pic>
      <p:sp>
        <p:nvSpPr>
          <p:cNvPr id="6" name="Titel 13">
            <a:extLst>
              <a:ext uri="{FF2B5EF4-FFF2-40B4-BE49-F238E27FC236}">
                <a16:creationId xmlns:a16="http://schemas.microsoft.com/office/drawing/2014/main" id="{81619C09-3F58-4B98-98B3-94DAEF6455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6053" y="20320"/>
            <a:ext cx="11809484" cy="1080000"/>
          </a:xfrm>
        </p:spPr>
        <p:txBody>
          <a:bodyPr anchor="ctr" anchorCtr="0">
            <a:normAutofit/>
          </a:bodyPr>
          <a:lstStyle>
            <a:lvl1pPr>
              <a:defRPr sz="4000"/>
            </a:lvl1pPr>
          </a:lstStyle>
          <a:p>
            <a:r>
              <a:rPr lang="nl-BE"/>
              <a:t>Titel van de werf</a:t>
            </a:r>
          </a:p>
        </p:txBody>
      </p:sp>
      <p:sp>
        <p:nvSpPr>
          <p:cNvPr id="7" name="Tijdelijke aanduiding voor tekst 2">
            <a:extLst>
              <a:ext uri="{FF2B5EF4-FFF2-40B4-BE49-F238E27FC236}">
                <a16:creationId xmlns:a16="http://schemas.microsoft.com/office/drawing/2014/main" id="{93278F46-36D7-43DC-9026-FC7FB9ABF02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6053" y="1134411"/>
            <a:ext cx="5656321" cy="2337538"/>
          </a:xfrm>
          <a:solidFill>
            <a:schemeClr val="bg2"/>
          </a:solidFill>
        </p:spPr>
        <p:txBody>
          <a:bodyPr lIns="0"/>
          <a:lstStyle>
            <a:lvl1pPr>
              <a:defRPr/>
            </a:lvl1pPr>
          </a:lstStyle>
          <a:p>
            <a:pPr lvl="0"/>
            <a:r>
              <a:rPr lang="nl-NL"/>
              <a:t>Wat houdt deze werf in grote lijnen in?</a:t>
            </a:r>
            <a:endParaRPr lang="nl-BE"/>
          </a:p>
        </p:txBody>
      </p:sp>
      <p:sp>
        <p:nvSpPr>
          <p:cNvPr id="8" name="Tijdelijke aanduiding voor tekst 2">
            <a:extLst>
              <a:ext uri="{FF2B5EF4-FFF2-40B4-BE49-F238E27FC236}">
                <a16:creationId xmlns:a16="http://schemas.microsoft.com/office/drawing/2014/main" id="{1D98F289-2EA8-45D5-AD2C-40E347C9C7E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29624" y="1134410"/>
            <a:ext cx="5685913" cy="2337537"/>
          </a:xfrm>
          <a:solidFill>
            <a:schemeClr val="bg2"/>
          </a:solidFill>
        </p:spPr>
        <p:txBody>
          <a:bodyPr lIns="0"/>
          <a:lstStyle>
            <a:lvl1pPr>
              <a:defRPr/>
            </a:lvl1pPr>
          </a:lstStyle>
          <a:p>
            <a:pPr lvl="0"/>
            <a:r>
              <a:rPr lang="nl-NL"/>
              <a:t>Waarom moeten we deze werf doen? (Noodzakelijk?)</a:t>
            </a:r>
            <a:endParaRPr lang="nl-BE"/>
          </a:p>
        </p:txBody>
      </p:sp>
      <p:sp>
        <p:nvSpPr>
          <p:cNvPr id="10" name="Tijdelijke aanduiding voor tekst 2">
            <a:extLst>
              <a:ext uri="{FF2B5EF4-FFF2-40B4-BE49-F238E27FC236}">
                <a16:creationId xmlns:a16="http://schemas.microsoft.com/office/drawing/2014/main" id="{F6DEA4C2-57AB-4D9B-8F21-C6B1E8D2D2E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6053" y="3701230"/>
            <a:ext cx="5656321" cy="1615828"/>
          </a:xfrm>
          <a:solidFill>
            <a:schemeClr val="bg2"/>
          </a:solidFill>
        </p:spPr>
        <p:txBody>
          <a:bodyPr lIns="0"/>
          <a:lstStyle>
            <a:lvl1pPr>
              <a:defRPr/>
            </a:lvl1pPr>
          </a:lstStyle>
          <a:p>
            <a:pPr lvl="0"/>
            <a:r>
              <a:rPr lang="nl-NL"/>
              <a:t>Voor wie doen we dit?</a:t>
            </a:r>
            <a:endParaRPr lang="nl-BE"/>
          </a:p>
        </p:txBody>
      </p:sp>
      <p:sp>
        <p:nvSpPr>
          <p:cNvPr id="11" name="Tijdelijke aanduiding voor tekst 2">
            <a:extLst>
              <a:ext uri="{FF2B5EF4-FFF2-40B4-BE49-F238E27FC236}">
                <a16:creationId xmlns:a16="http://schemas.microsoft.com/office/drawing/2014/main" id="{2D14023A-5293-41DD-BC3F-4AED13A9B5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29624" y="3701230"/>
            <a:ext cx="5685913" cy="1615828"/>
          </a:xfrm>
          <a:solidFill>
            <a:schemeClr val="bg2"/>
          </a:solidFill>
        </p:spPr>
        <p:txBody>
          <a:bodyPr lIns="0"/>
          <a:lstStyle>
            <a:lvl1pPr>
              <a:defRPr/>
            </a:lvl1pPr>
          </a:lstStyle>
          <a:p>
            <a:pPr lvl="0"/>
            <a:r>
              <a:rPr lang="nl-NL"/>
              <a:t>Wat is de timing? (Dringend?) </a:t>
            </a:r>
            <a:endParaRPr lang="nl-BE"/>
          </a:p>
        </p:txBody>
      </p:sp>
      <p:sp>
        <p:nvSpPr>
          <p:cNvPr id="12" name="Tijdelijke aanduiding voor tekst 2">
            <a:extLst>
              <a:ext uri="{FF2B5EF4-FFF2-40B4-BE49-F238E27FC236}">
                <a16:creationId xmlns:a16="http://schemas.microsoft.com/office/drawing/2014/main" id="{560DC4FE-9AAE-4BB2-B8DF-A8BB4BFEE8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6053" y="5546339"/>
            <a:ext cx="8953989" cy="1080000"/>
          </a:xfrm>
          <a:solidFill>
            <a:schemeClr val="bg2"/>
          </a:solidFill>
        </p:spPr>
        <p:txBody>
          <a:bodyPr lIns="0"/>
          <a:lstStyle>
            <a:lvl1pPr>
              <a:defRPr/>
            </a:lvl1pPr>
          </a:lstStyle>
          <a:p>
            <a:pPr lvl="0"/>
            <a:r>
              <a:rPr lang="nl-NL"/>
              <a:t>Conclusie prioriteit?</a:t>
            </a:r>
            <a:endParaRPr lang="nl-BE"/>
          </a:p>
        </p:txBody>
      </p:sp>
      <p:sp>
        <p:nvSpPr>
          <p:cNvPr id="13" name="Tijdelijke aanduiding voor tekst 2">
            <a:extLst>
              <a:ext uri="{FF2B5EF4-FFF2-40B4-BE49-F238E27FC236}">
                <a16:creationId xmlns:a16="http://schemas.microsoft.com/office/drawing/2014/main" id="{5DF5B73D-B693-4968-9AAE-B883B8FAA3F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614483" y="5546339"/>
            <a:ext cx="2371464" cy="1080000"/>
          </a:xfrm>
          <a:solidFill>
            <a:schemeClr val="bg2"/>
          </a:solidFill>
        </p:spPr>
        <p:txBody>
          <a:bodyPr lIns="0"/>
          <a:lstStyle>
            <a:lvl1pPr>
              <a:defRPr/>
            </a:lvl1pPr>
          </a:lstStyle>
          <a:p>
            <a:pPr lvl="0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930541237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4-beleidsveld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phic 15">
            <a:extLst>
              <a:ext uri="{FF2B5EF4-FFF2-40B4-BE49-F238E27FC236}">
                <a16:creationId xmlns:a16="http://schemas.microsoft.com/office/drawing/2014/main" id="{33D7EF5B-30CE-422E-8540-0AF838FF541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4010025" y="0"/>
            <a:ext cx="8181975" cy="1743075"/>
          </a:xfrm>
          <a:prstGeom prst="rect">
            <a:avLst/>
          </a:prstGeom>
        </p:spPr>
      </p:pic>
      <p:sp>
        <p:nvSpPr>
          <p:cNvPr id="6" name="Titel 13">
            <a:extLst>
              <a:ext uri="{FF2B5EF4-FFF2-40B4-BE49-F238E27FC236}">
                <a16:creationId xmlns:a16="http://schemas.microsoft.com/office/drawing/2014/main" id="{81619C09-3F58-4B98-98B3-94DAEF6455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12669" y="206723"/>
            <a:ext cx="10402868" cy="777702"/>
          </a:xfrm>
        </p:spPr>
        <p:txBody>
          <a:bodyPr anchor="ctr" anchorCtr="0">
            <a:normAutofit/>
          </a:bodyPr>
          <a:lstStyle>
            <a:lvl1pPr>
              <a:defRPr sz="2000"/>
            </a:lvl1pPr>
          </a:lstStyle>
          <a:p>
            <a:r>
              <a:rPr lang="nl-BE"/>
              <a:t>Titel van de werf</a:t>
            </a:r>
          </a:p>
        </p:txBody>
      </p:sp>
      <p:sp>
        <p:nvSpPr>
          <p:cNvPr id="7" name="Tijdelijke aanduiding voor tekst 2">
            <a:extLst>
              <a:ext uri="{FF2B5EF4-FFF2-40B4-BE49-F238E27FC236}">
                <a16:creationId xmlns:a16="http://schemas.microsoft.com/office/drawing/2014/main" id="{93278F46-36D7-43DC-9026-FC7FB9ABF02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6053" y="1134410"/>
            <a:ext cx="5765395" cy="2337538"/>
          </a:xfrm>
          <a:solidFill>
            <a:schemeClr val="bg2"/>
          </a:solidFill>
          <a:ln>
            <a:solidFill>
              <a:schemeClr val="bg2">
                <a:lumMod val="50000"/>
              </a:schemeClr>
            </a:solidFill>
          </a:ln>
        </p:spPr>
        <p:txBody>
          <a:bodyPr lIns="0"/>
          <a:lstStyle>
            <a:lvl1pPr>
              <a:defRPr sz="1200"/>
            </a:lvl1pPr>
          </a:lstStyle>
          <a:p>
            <a:pPr lvl="0"/>
            <a:r>
              <a:rPr lang="nl-NL"/>
              <a:t>Wat houdt deze werf in grote lijnen in?</a:t>
            </a:r>
            <a:endParaRPr lang="nl-BE"/>
          </a:p>
        </p:txBody>
      </p:sp>
      <p:sp>
        <p:nvSpPr>
          <p:cNvPr id="8" name="Tijdelijke aanduiding voor tekst 2">
            <a:extLst>
              <a:ext uri="{FF2B5EF4-FFF2-40B4-BE49-F238E27FC236}">
                <a16:creationId xmlns:a16="http://schemas.microsoft.com/office/drawing/2014/main" id="{1D98F289-2EA8-45D5-AD2C-40E347C9C7E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20554" y="1134410"/>
            <a:ext cx="5765394" cy="2337537"/>
          </a:xfrm>
          <a:solidFill>
            <a:schemeClr val="bg2"/>
          </a:solidFill>
          <a:ln>
            <a:solidFill>
              <a:schemeClr val="bg2">
                <a:lumMod val="50000"/>
              </a:schemeClr>
            </a:solidFill>
          </a:ln>
        </p:spPr>
        <p:txBody>
          <a:bodyPr lIns="0"/>
          <a:lstStyle>
            <a:lvl1pPr>
              <a:defRPr sz="1200"/>
            </a:lvl1pPr>
          </a:lstStyle>
          <a:p>
            <a:pPr lvl="0"/>
            <a:r>
              <a:rPr lang="nl-NL"/>
              <a:t>Waarom moeten we deze werf doen? (Noodzakelijk?)</a:t>
            </a:r>
            <a:endParaRPr lang="nl-BE"/>
          </a:p>
        </p:txBody>
      </p:sp>
      <p:sp>
        <p:nvSpPr>
          <p:cNvPr id="10" name="Tijdelijke aanduiding voor tekst 2">
            <a:extLst>
              <a:ext uri="{FF2B5EF4-FFF2-40B4-BE49-F238E27FC236}">
                <a16:creationId xmlns:a16="http://schemas.microsoft.com/office/drawing/2014/main" id="{F6DEA4C2-57AB-4D9B-8F21-C6B1E8D2D2E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6053" y="3701230"/>
            <a:ext cx="5765394" cy="1615828"/>
          </a:xfrm>
          <a:solidFill>
            <a:schemeClr val="bg2"/>
          </a:solidFill>
          <a:ln>
            <a:solidFill>
              <a:schemeClr val="bg2">
                <a:lumMod val="50000"/>
              </a:schemeClr>
            </a:solidFill>
          </a:ln>
        </p:spPr>
        <p:txBody>
          <a:bodyPr lIns="0">
            <a:normAutofit/>
          </a:bodyPr>
          <a:lstStyle>
            <a:lvl1pPr>
              <a:defRPr sz="1200"/>
            </a:lvl1pPr>
          </a:lstStyle>
          <a:p>
            <a:pPr lvl="0"/>
            <a:r>
              <a:rPr lang="nl-NL"/>
              <a:t>Voor wie doen we dit?</a:t>
            </a:r>
            <a:endParaRPr lang="nl-BE"/>
          </a:p>
        </p:txBody>
      </p:sp>
      <p:sp>
        <p:nvSpPr>
          <p:cNvPr id="11" name="Tijdelijke aanduiding voor tekst 2">
            <a:extLst>
              <a:ext uri="{FF2B5EF4-FFF2-40B4-BE49-F238E27FC236}">
                <a16:creationId xmlns:a16="http://schemas.microsoft.com/office/drawing/2014/main" id="{2D14023A-5293-41DD-BC3F-4AED13A9B5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6464" y="5546339"/>
            <a:ext cx="5795557" cy="1080000"/>
          </a:xfrm>
          <a:solidFill>
            <a:schemeClr val="bg2"/>
          </a:solidFill>
          <a:ln>
            <a:solidFill>
              <a:schemeClr val="bg2">
                <a:lumMod val="50000"/>
              </a:schemeClr>
            </a:solidFill>
          </a:ln>
        </p:spPr>
        <p:txBody>
          <a:bodyPr lIns="0"/>
          <a:lstStyle>
            <a:lvl1pPr>
              <a:defRPr sz="1200"/>
            </a:lvl1pPr>
          </a:lstStyle>
          <a:p>
            <a:pPr lvl="0"/>
            <a:r>
              <a:rPr lang="nl-NL"/>
              <a:t>Wat is de timing? (Dringend?) </a:t>
            </a:r>
            <a:endParaRPr lang="nl-BE"/>
          </a:p>
        </p:txBody>
      </p:sp>
      <p:sp>
        <p:nvSpPr>
          <p:cNvPr id="12" name="Tijdelijke aanduiding voor tekst 2">
            <a:extLst>
              <a:ext uri="{FF2B5EF4-FFF2-40B4-BE49-F238E27FC236}">
                <a16:creationId xmlns:a16="http://schemas.microsoft.com/office/drawing/2014/main" id="{560DC4FE-9AAE-4BB2-B8DF-A8BB4BFEE8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20550" y="5546339"/>
            <a:ext cx="5765394" cy="1080000"/>
          </a:xfrm>
          <a:solidFill>
            <a:schemeClr val="bg2"/>
          </a:solidFill>
          <a:ln>
            <a:solidFill>
              <a:schemeClr val="bg2">
                <a:lumMod val="50000"/>
              </a:schemeClr>
            </a:solidFill>
          </a:ln>
        </p:spPr>
        <p:txBody>
          <a:bodyPr lIns="0">
            <a:normAutofit/>
          </a:bodyPr>
          <a:lstStyle>
            <a:lvl1pPr>
              <a:defRPr sz="1200"/>
            </a:lvl1pPr>
          </a:lstStyle>
          <a:p>
            <a:pPr lvl="0"/>
            <a:r>
              <a:rPr lang="nl-NL"/>
              <a:t>Conclusie prioriteit?</a:t>
            </a:r>
            <a:endParaRPr lang="nl-BE"/>
          </a:p>
        </p:txBody>
      </p:sp>
      <p:sp>
        <p:nvSpPr>
          <p:cNvPr id="14" name="Tijdelijke aanduiding voor tekst 2">
            <a:extLst>
              <a:ext uri="{FF2B5EF4-FFF2-40B4-BE49-F238E27FC236}">
                <a16:creationId xmlns:a16="http://schemas.microsoft.com/office/drawing/2014/main" id="{9FB3033A-39CE-45FB-B9F0-FA52AE9E21E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20550" y="3701231"/>
            <a:ext cx="5765394" cy="1615827"/>
          </a:xfrm>
          <a:solidFill>
            <a:schemeClr val="bg2"/>
          </a:solidFill>
          <a:ln>
            <a:solidFill>
              <a:schemeClr val="bg2">
                <a:lumMod val="50000"/>
              </a:schemeClr>
            </a:solidFill>
          </a:ln>
        </p:spPr>
        <p:txBody>
          <a:bodyPr lIns="0"/>
          <a:lstStyle>
            <a:lvl1pPr>
              <a:defRPr sz="1200"/>
            </a:lvl1pPr>
          </a:lstStyle>
          <a:p>
            <a:pPr lvl="0"/>
            <a:r>
              <a:rPr lang="nl-NL"/>
              <a:t>Wat als we het niet doen?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9186675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B_domein01_lokaal bestuur+Lij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5354695C-7EAC-4EFF-99BD-7A2D7630696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0" y="0"/>
            <a:ext cx="1747930" cy="6858000"/>
          </a:xfrm>
          <a:prstGeom prst="rect">
            <a:avLst/>
          </a:prstGeom>
        </p:spPr>
      </p:pic>
      <p:pic>
        <p:nvPicPr>
          <p:cNvPr id="13" name="Graphic 12">
            <a:hlinkClick r:id="" action="ppaction://noaction"/>
            <a:extLst>
              <a:ext uri="{FF2B5EF4-FFF2-40B4-BE49-F238E27FC236}">
                <a16:creationId xmlns:a16="http://schemas.microsoft.com/office/drawing/2014/main" id="{203E7C5C-880F-4F34-8CCA-DCE31EED4B8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8775" y="357188"/>
            <a:ext cx="1008000" cy="415060"/>
          </a:xfrm>
          <a:prstGeom prst="rect">
            <a:avLst/>
          </a:prstGeom>
        </p:spPr>
      </p:pic>
      <p:sp>
        <p:nvSpPr>
          <p:cNvPr id="9" name="Tekstvak 8">
            <a:extLst>
              <a:ext uri="{FF2B5EF4-FFF2-40B4-BE49-F238E27FC236}">
                <a16:creationId xmlns:a16="http://schemas.microsoft.com/office/drawing/2014/main" id="{49D3F6B6-A1C3-452E-BD84-A98289FF49BA}"/>
              </a:ext>
            </a:extLst>
          </p:cNvPr>
          <p:cNvSpPr txBox="1"/>
          <p:nvPr userDrawn="1"/>
        </p:nvSpPr>
        <p:spPr>
          <a:xfrm rot="1620000">
            <a:off x="290309" y="1385441"/>
            <a:ext cx="1106249" cy="720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>
              <a:lnSpc>
                <a:spcPts val="1400"/>
              </a:lnSpc>
            </a:pPr>
            <a:r>
              <a:rPr lang="nl-BE" sz="1300" spc="-20" baseline="0">
                <a:solidFill>
                  <a:srgbClr val="3C3D3C"/>
                </a:solidFill>
                <a:latin typeface="FlandersArtSans-Medium" panose="00000600000000000000" pitchFamily="2" charset="0"/>
              </a:rPr>
              <a:t>Lokaal</a:t>
            </a:r>
          </a:p>
          <a:p>
            <a:pPr algn="l">
              <a:lnSpc>
                <a:spcPts val="1400"/>
              </a:lnSpc>
            </a:pPr>
            <a:r>
              <a:rPr lang="nl-BE" sz="1300" spc="-20" baseline="0">
                <a:solidFill>
                  <a:srgbClr val="3C3D3C"/>
                </a:solidFill>
                <a:latin typeface="FlandersArtSans-Medium" panose="00000600000000000000" pitchFamily="2" charset="0"/>
              </a:rPr>
              <a:t>  bestuur</a:t>
            </a:r>
          </a:p>
          <a:p>
            <a:pPr algn="l">
              <a:lnSpc>
                <a:spcPts val="1400"/>
              </a:lnSpc>
            </a:pPr>
            <a:r>
              <a:rPr lang="nl-BE" sz="1300" spc="-20" baseline="0">
                <a:solidFill>
                  <a:srgbClr val="3C3D3C"/>
                </a:solidFill>
                <a:latin typeface="FlandersArtSans-Medium" panose="00000600000000000000" pitchFamily="2" charset="0"/>
              </a:rPr>
              <a:t>    _____</a:t>
            </a:r>
          </a:p>
        </p:txBody>
      </p:sp>
      <p:sp>
        <p:nvSpPr>
          <p:cNvPr id="11" name="Tijdelijke aanduiding voor tekst 2">
            <a:extLst>
              <a:ext uri="{FF2B5EF4-FFF2-40B4-BE49-F238E27FC236}">
                <a16:creationId xmlns:a16="http://schemas.microsoft.com/office/drawing/2014/main" id="{8E44AC07-75B1-45FB-AB42-0803121D65B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80000" y="1980000"/>
            <a:ext cx="9496800" cy="4157275"/>
          </a:xfrm>
        </p:spPr>
        <p:txBody>
          <a:bodyPr lIns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8" name="Titel 10">
            <a:extLst>
              <a:ext uri="{FF2B5EF4-FFF2-40B4-BE49-F238E27FC236}">
                <a16:creationId xmlns:a16="http://schemas.microsoft.com/office/drawing/2014/main" id="{1F401CBB-EC47-4219-9DA2-C826E26BC3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0000" y="357188"/>
            <a:ext cx="9493924" cy="1082812"/>
          </a:xfrm>
        </p:spPr>
        <p:txBody>
          <a:bodyPr lIns="0" anchor="ctr" anchorCtr="0">
            <a:normAutofit/>
          </a:bodyPr>
          <a:lstStyle>
            <a:lvl1pPr>
              <a:defRPr sz="36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cxnSp>
        <p:nvCxnSpPr>
          <p:cNvPr id="12" name="Rechte verbindingslijn 11">
            <a:extLst>
              <a:ext uri="{FF2B5EF4-FFF2-40B4-BE49-F238E27FC236}">
                <a16:creationId xmlns:a16="http://schemas.microsoft.com/office/drawing/2014/main" id="{CD0BF93F-0538-4BF3-94DA-CF22519DEFED}"/>
              </a:ext>
            </a:extLst>
          </p:cNvPr>
          <p:cNvCxnSpPr/>
          <p:nvPr userDrawn="1"/>
        </p:nvCxnSpPr>
        <p:spPr>
          <a:xfrm>
            <a:off x="1979999" y="1620000"/>
            <a:ext cx="900000" cy="0"/>
          </a:xfrm>
          <a:prstGeom prst="line">
            <a:avLst/>
          </a:prstGeom>
          <a:ln w="50800">
            <a:solidFill>
              <a:srgbClr val="FFE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9597961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-lokaal bestuu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Afbeelding 5">
            <a:extLst>
              <a:ext uri="{FF2B5EF4-FFF2-40B4-BE49-F238E27FC236}">
                <a16:creationId xmlns:a16="http://schemas.microsoft.com/office/drawing/2014/main" id="{6C4F1067-CE43-447B-A45D-1AA2C15340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83"/>
          <a:stretch/>
        </p:blipFill>
        <p:spPr>
          <a:xfrm>
            <a:off x="8511862" y="1548449"/>
            <a:ext cx="3680138" cy="5309551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5EA3C77F-083D-48B0-AEAB-76F0F0726E4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7306" cy="6858000"/>
          </a:xfrm>
          <a:prstGeom prst="rect">
            <a:avLst/>
          </a:prstGeom>
        </p:spPr>
      </p:pic>
      <p:sp>
        <p:nvSpPr>
          <p:cNvPr id="11" name="Titel 10">
            <a:extLst>
              <a:ext uri="{FF2B5EF4-FFF2-40B4-BE49-F238E27FC236}">
                <a16:creationId xmlns:a16="http://schemas.microsoft.com/office/drawing/2014/main" id="{2E250162-3FBD-465A-A88D-B1EF97043D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0000" y="720000"/>
            <a:ext cx="9493924" cy="720000"/>
          </a:xfrm>
        </p:spPr>
        <p:txBody>
          <a:bodyPr lIns="0" anchor="ctr" anchorCtr="0">
            <a:normAutofit/>
          </a:bodyPr>
          <a:lstStyle>
            <a:lvl1pPr>
              <a:defRPr sz="40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1E1B337E-B563-4F3A-9CDE-5329B589DA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80000" y="1980000"/>
            <a:ext cx="9496800" cy="4157275"/>
          </a:xfrm>
        </p:spPr>
        <p:txBody>
          <a:bodyPr lIns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54FFD4E6-B8F9-4E64-B530-04AF07E085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979999" y="359999"/>
            <a:ext cx="9492863" cy="396000"/>
          </a:xfrm>
        </p:spPr>
        <p:txBody>
          <a:bodyPr anchor="b" anchorCtr="0">
            <a:normAutofit/>
          </a:bodyPr>
          <a:lstStyle>
            <a:lvl1pPr>
              <a:defRPr sz="1200">
                <a:latin typeface="FlandersArtSans-Medium" panose="00000600000000000000" pitchFamily="2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  <a:endParaRPr lang="nl-BE"/>
          </a:p>
        </p:txBody>
      </p:sp>
      <p:cxnSp>
        <p:nvCxnSpPr>
          <p:cNvPr id="10" name="Rechte verbindingslijn 9">
            <a:extLst>
              <a:ext uri="{FF2B5EF4-FFF2-40B4-BE49-F238E27FC236}">
                <a16:creationId xmlns:a16="http://schemas.microsoft.com/office/drawing/2014/main" id="{E3A148CB-828F-4DFD-AA4C-69725B2E3FBA}"/>
              </a:ext>
            </a:extLst>
          </p:cNvPr>
          <p:cNvCxnSpPr/>
          <p:nvPr userDrawn="1"/>
        </p:nvCxnSpPr>
        <p:spPr>
          <a:xfrm>
            <a:off x="1979999" y="1620000"/>
            <a:ext cx="900000" cy="0"/>
          </a:xfrm>
          <a:prstGeom prst="line">
            <a:avLst/>
          </a:prstGeom>
          <a:ln w="50800">
            <a:solidFill>
              <a:srgbClr val="FFE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5649078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LokBest_Instrume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 descr="Afbeelding met gebouw, buiten, lucht, grond&#10;&#10;Automatisch gegenereerde beschrijving">
            <a:extLst>
              <a:ext uri="{FF2B5EF4-FFF2-40B4-BE49-F238E27FC236}">
                <a16:creationId xmlns:a16="http://schemas.microsoft.com/office/drawing/2014/main" id="{CE786149-DF47-4BAA-82EF-7D52386F84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515"/>
          <a:stretch/>
        </p:blipFill>
        <p:spPr>
          <a:xfrm>
            <a:off x="5817143" y="1346196"/>
            <a:ext cx="6374857" cy="5511803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0730FD37-3AFD-4998-A139-53FA093F62F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-1588"/>
            <a:ext cx="12197307" cy="6858000"/>
          </a:xfrm>
          <a:prstGeom prst="rect">
            <a:avLst/>
          </a:prstGeom>
        </p:spPr>
      </p:pic>
      <p:sp>
        <p:nvSpPr>
          <p:cNvPr id="10" name="Tijdelijke aanduiding voor tekst 2">
            <a:extLst>
              <a:ext uri="{FF2B5EF4-FFF2-40B4-BE49-F238E27FC236}">
                <a16:creationId xmlns:a16="http://schemas.microsoft.com/office/drawing/2014/main" id="{BB96457E-8F7D-4EF5-A088-C4AC5088E0D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725" y="1799999"/>
            <a:ext cx="7513200" cy="3960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cxnSp>
        <p:nvCxnSpPr>
          <p:cNvPr id="13" name="Rechte verbindingslijn 12">
            <a:extLst>
              <a:ext uri="{FF2B5EF4-FFF2-40B4-BE49-F238E27FC236}">
                <a16:creationId xmlns:a16="http://schemas.microsoft.com/office/drawing/2014/main" id="{FBE18EDD-C064-4901-8FD4-0861F71052D5}"/>
              </a:ext>
            </a:extLst>
          </p:cNvPr>
          <p:cNvCxnSpPr/>
          <p:nvPr userDrawn="1"/>
        </p:nvCxnSpPr>
        <p:spPr>
          <a:xfrm>
            <a:off x="720725" y="1620000"/>
            <a:ext cx="900000" cy="0"/>
          </a:xfrm>
          <a:prstGeom prst="line">
            <a:avLst/>
          </a:prstGeom>
          <a:ln w="50800">
            <a:solidFill>
              <a:srgbClr val="FFE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el 13">
            <a:extLst>
              <a:ext uri="{FF2B5EF4-FFF2-40B4-BE49-F238E27FC236}">
                <a16:creationId xmlns:a16="http://schemas.microsoft.com/office/drawing/2014/main" id="{76D30644-5F9E-48EF-807E-84F06A12E7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720367"/>
            <a:ext cx="7513200" cy="720000"/>
          </a:xfrm>
        </p:spPr>
        <p:txBody>
          <a:bodyPr anchor="ctr" anchorCtr="0">
            <a:normAutofit/>
          </a:bodyPr>
          <a:lstStyle>
            <a:lvl1pPr>
              <a:defRPr sz="40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FAFC2373-A31E-4CDF-9D5E-6A17816A25E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725" y="359999"/>
            <a:ext cx="7511875" cy="396000"/>
          </a:xfrm>
        </p:spPr>
        <p:txBody>
          <a:bodyPr anchor="b" anchorCtr="0">
            <a:normAutofit/>
          </a:bodyPr>
          <a:lstStyle>
            <a:lvl1pPr>
              <a:defRPr sz="1200">
                <a:latin typeface="FlandersArtSans-Medium" panose="00000600000000000000" pitchFamily="2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961887194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-Integratie-Inst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3">
            <a:extLst>
              <a:ext uri="{FF2B5EF4-FFF2-40B4-BE49-F238E27FC236}">
                <a16:creationId xmlns:a16="http://schemas.microsoft.com/office/drawing/2014/main" id="{AC5928D0-526E-47F1-93DB-CAA7744CA97A}"/>
              </a:ext>
            </a:extLst>
          </p:cNvPr>
          <p:cNvSpPr txBox="1">
            <a:spLocks/>
          </p:cNvSpPr>
          <p:nvPr userDrawn="1"/>
        </p:nvSpPr>
        <p:spPr>
          <a:xfrm>
            <a:off x="7200001" y="720000"/>
            <a:ext cx="4992000" cy="2397600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180000" tIns="180000" rIns="180000" bIns="18000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2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+mn-cs"/>
              </a:defRPr>
            </a:lvl1pPr>
            <a:lvl2pPr marL="540000" indent="-180000" algn="l" defTabSz="914400" rtl="0" eaLnBrk="1" latinLnBrk="0" hangingPunct="1">
              <a:lnSpc>
                <a:spcPct val="112000"/>
              </a:lnSpc>
              <a:spcBef>
                <a:spcPts val="0"/>
              </a:spcBef>
              <a:buSzPct val="9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+mn-cs"/>
              </a:defRPr>
            </a:lvl2pPr>
            <a:lvl3pPr marL="900000" indent="-180000" algn="l" defTabSz="914400" rtl="0" eaLnBrk="1" latinLnBrk="0" hangingPunct="1">
              <a:lnSpc>
                <a:spcPct val="112000"/>
              </a:lnSpc>
              <a:spcBef>
                <a:spcPts val="0"/>
              </a:spcBef>
              <a:buSzPct val="80000"/>
              <a:buFont typeface="FlandersArtSans-Regular" panose="00000500000000000000" pitchFamily="2" charset="0"/>
              <a:buChar char="°"/>
              <a:defRPr sz="1800" kern="120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+mn-cs"/>
              </a:defRPr>
            </a:lvl3pPr>
            <a:lvl4pPr marL="1260000" indent="-180000" algn="l" defTabSz="914400" rtl="0" eaLnBrk="1" latinLnBrk="0" hangingPunct="1">
              <a:lnSpc>
                <a:spcPct val="112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+mn-cs"/>
              </a:defRPr>
            </a:lvl4pPr>
            <a:lvl5pPr marL="1620000" indent="-180000" algn="l" defTabSz="914400" rtl="0" eaLnBrk="1" latinLnBrk="0" hangingPunct="1">
              <a:lnSpc>
                <a:spcPct val="112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l-BE" sz="1600"/>
          </a:p>
        </p:txBody>
      </p:sp>
      <p:grpSp>
        <p:nvGrpSpPr>
          <p:cNvPr id="12" name="Groep 11">
            <a:extLst>
              <a:ext uri="{FF2B5EF4-FFF2-40B4-BE49-F238E27FC236}">
                <a16:creationId xmlns:a16="http://schemas.microsoft.com/office/drawing/2014/main" id="{E8F4C0E7-AA9E-4451-88BE-74D6689D7C4D}"/>
              </a:ext>
            </a:extLst>
          </p:cNvPr>
          <p:cNvGrpSpPr/>
          <p:nvPr userDrawn="1"/>
        </p:nvGrpSpPr>
        <p:grpSpPr>
          <a:xfrm>
            <a:off x="10319265" y="1270"/>
            <a:ext cx="1937741" cy="6856730"/>
            <a:chOff x="10254260" y="-1587"/>
            <a:chExt cx="1937741" cy="6856730"/>
          </a:xfrm>
        </p:grpSpPr>
        <p:sp>
          <p:nvSpPr>
            <p:cNvPr id="14" name="Graphic 15">
              <a:extLst>
                <a:ext uri="{FF2B5EF4-FFF2-40B4-BE49-F238E27FC236}">
                  <a16:creationId xmlns:a16="http://schemas.microsoft.com/office/drawing/2014/main" id="{457D74DE-5C6C-4186-B993-DC2E81A0C273}"/>
                </a:ext>
              </a:extLst>
            </p:cNvPr>
            <p:cNvSpPr/>
            <p:nvPr/>
          </p:nvSpPr>
          <p:spPr>
            <a:xfrm rot="5400000">
              <a:off x="7697910" y="2554763"/>
              <a:ext cx="6856730" cy="1744029"/>
            </a:xfrm>
            <a:custGeom>
              <a:avLst/>
              <a:gdLst>
                <a:gd name="connsiteX0" fmla="*/ 7492365 w 8181975"/>
                <a:gd name="connsiteY0" fmla="*/ 0 h 1733550"/>
                <a:gd name="connsiteX1" fmla="*/ 1343025 w 8181975"/>
                <a:gd name="connsiteY1" fmla="*/ 0 h 1733550"/>
                <a:gd name="connsiteX2" fmla="*/ 0 w 8181975"/>
                <a:gd name="connsiteY2" fmla="*/ 0 h 1733550"/>
                <a:gd name="connsiteX3" fmla="*/ 6757988 w 8181975"/>
                <a:gd name="connsiteY3" fmla="*/ 1436370 h 1733550"/>
                <a:gd name="connsiteX4" fmla="*/ 7566660 w 8181975"/>
                <a:gd name="connsiteY4" fmla="*/ 1608773 h 1733550"/>
                <a:gd name="connsiteX5" fmla="*/ 8183880 w 8181975"/>
                <a:gd name="connsiteY5" fmla="*/ 1739265 h 1733550"/>
                <a:gd name="connsiteX6" fmla="*/ 8183880 w 8181975"/>
                <a:gd name="connsiteY6" fmla="*/ 0 h 1733550"/>
                <a:gd name="connsiteX0" fmla="*/ 7492365 w 8183880"/>
                <a:gd name="connsiteY0" fmla="*/ 0 h 1739265"/>
                <a:gd name="connsiteX1" fmla="*/ 1343025 w 8183880"/>
                <a:gd name="connsiteY1" fmla="*/ 0 h 1739265"/>
                <a:gd name="connsiteX2" fmla="*/ 0 w 8183880"/>
                <a:gd name="connsiteY2" fmla="*/ 0 h 1739265"/>
                <a:gd name="connsiteX3" fmla="*/ 1328738 w 8183880"/>
                <a:gd name="connsiteY3" fmla="*/ 278267 h 1739265"/>
                <a:gd name="connsiteX4" fmla="*/ 6757988 w 8183880"/>
                <a:gd name="connsiteY4" fmla="*/ 1436370 h 1739265"/>
                <a:gd name="connsiteX5" fmla="*/ 7566660 w 8183880"/>
                <a:gd name="connsiteY5" fmla="*/ 1608773 h 1739265"/>
                <a:gd name="connsiteX6" fmla="*/ 8183880 w 8183880"/>
                <a:gd name="connsiteY6" fmla="*/ 1739265 h 1739265"/>
                <a:gd name="connsiteX7" fmla="*/ 8183880 w 8183880"/>
                <a:gd name="connsiteY7" fmla="*/ 0 h 1739265"/>
                <a:gd name="connsiteX8" fmla="*/ 7492365 w 8183880"/>
                <a:gd name="connsiteY8" fmla="*/ 0 h 1739265"/>
                <a:gd name="connsiteX0" fmla="*/ 6163627 w 6855142"/>
                <a:gd name="connsiteY0" fmla="*/ 0 h 1739265"/>
                <a:gd name="connsiteX1" fmla="*/ 14287 w 6855142"/>
                <a:gd name="connsiteY1" fmla="*/ 0 h 1739265"/>
                <a:gd name="connsiteX2" fmla="*/ 0 w 6855142"/>
                <a:gd name="connsiteY2" fmla="*/ 278267 h 1739265"/>
                <a:gd name="connsiteX3" fmla="*/ 5429250 w 6855142"/>
                <a:gd name="connsiteY3" fmla="*/ 1436370 h 1739265"/>
                <a:gd name="connsiteX4" fmla="*/ 6237922 w 6855142"/>
                <a:gd name="connsiteY4" fmla="*/ 1608773 h 1739265"/>
                <a:gd name="connsiteX5" fmla="*/ 6855142 w 6855142"/>
                <a:gd name="connsiteY5" fmla="*/ 1739265 h 1739265"/>
                <a:gd name="connsiteX6" fmla="*/ 6855142 w 6855142"/>
                <a:gd name="connsiteY6" fmla="*/ 0 h 1739265"/>
                <a:gd name="connsiteX7" fmla="*/ 6163627 w 6855142"/>
                <a:gd name="connsiteY7" fmla="*/ 0 h 1739265"/>
                <a:gd name="connsiteX0" fmla="*/ 6165215 w 6856730"/>
                <a:gd name="connsiteY0" fmla="*/ 4764 h 1744029"/>
                <a:gd name="connsiteX1" fmla="*/ 0 w 6856730"/>
                <a:gd name="connsiteY1" fmla="*/ 0 h 1744029"/>
                <a:gd name="connsiteX2" fmla="*/ 1588 w 6856730"/>
                <a:gd name="connsiteY2" fmla="*/ 283031 h 1744029"/>
                <a:gd name="connsiteX3" fmla="*/ 5430838 w 6856730"/>
                <a:gd name="connsiteY3" fmla="*/ 1441134 h 1744029"/>
                <a:gd name="connsiteX4" fmla="*/ 6239510 w 6856730"/>
                <a:gd name="connsiteY4" fmla="*/ 1613537 h 1744029"/>
                <a:gd name="connsiteX5" fmla="*/ 6856730 w 6856730"/>
                <a:gd name="connsiteY5" fmla="*/ 1744029 h 1744029"/>
                <a:gd name="connsiteX6" fmla="*/ 6856730 w 6856730"/>
                <a:gd name="connsiteY6" fmla="*/ 4764 h 1744029"/>
                <a:gd name="connsiteX7" fmla="*/ 6165215 w 6856730"/>
                <a:gd name="connsiteY7" fmla="*/ 4764 h 1744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56730" h="1744029">
                  <a:moveTo>
                    <a:pt x="6165215" y="4764"/>
                  </a:moveTo>
                  <a:lnTo>
                    <a:pt x="0" y="0"/>
                  </a:lnTo>
                  <a:cubicBezTo>
                    <a:pt x="529" y="94344"/>
                    <a:pt x="1059" y="188687"/>
                    <a:pt x="1588" y="283031"/>
                  </a:cubicBezTo>
                  <a:lnTo>
                    <a:pt x="5430838" y="1441134"/>
                  </a:lnTo>
                  <a:lnTo>
                    <a:pt x="6239510" y="1613537"/>
                  </a:lnTo>
                  <a:lnTo>
                    <a:pt x="6856730" y="1744029"/>
                  </a:lnTo>
                  <a:lnTo>
                    <a:pt x="6856730" y="4764"/>
                  </a:lnTo>
                  <a:lnTo>
                    <a:pt x="6165215" y="476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5" name="Graphic 15">
              <a:extLst>
                <a:ext uri="{FF2B5EF4-FFF2-40B4-BE49-F238E27FC236}">
                  <a16:creationId xmlns:a16="http://schemas.microsoft.com/office/drawing/2014/main" id="{7A5646C0-6517-47A7-A438-E3FC672C86D1}"/>
                </a:ext>
              </a:extLst>
            </p:cNvPr>
            <p:cNvSpPr/>
            <p:nvPr/>
          </p:nvSpPr>
          <p:spPr>
            <a:xfrm rot="5400000">
              <a:off x="7891622" y="2554763"/>
              <a:ext cx="6856730" cy="1744029"/>
            </a:xfrm>
            <a:custGeom>
              <a:avLst/>
              <a:gdLst>
                <a:gd name="connsiteX0" fmla="*/ 7492365 w 8181975"/>
                <a:gd name="connsiteY0" fmla="*/ 0 h 1733550"/>
                <a:gd name="connsiteX1" fmla="*/ 1343025 w 8181975"/>
                <a:gd name="connsiteY1" fmla="*/ 0 h 1733550"/>
                <a:gd name="connsiteX2" fmla="*/ 0 w 8181975"/>
                <a:gd name="connsiteY2" fmla="*/ 0 h 1733550"/>
                <a:gd name="connsiteX3" fmla="*/ 6757988 w 8181975"/>
                <a:gd name="connsiteY3" fmla="*/ 1436370 h 1733550"/>
                <a:gd name="connsiteX4" fmla="*/ 7566660 w 8181975"/>
                <a:gd name="connsiteY4" fmla="*/ 1608773 h 1733550"/>
                <a:gd name="connsiteX5" fmla="*/ 8183880 w 8181975"/>
                <a:gd name="connsiteY5" fmla="*/ 1739265 h 1733550"/>
                <a:gd name="connsiteX6" fmla="*/ 8183880 w 8181975"/>
                <a:gd name="connsiteY6" fmla="*/ 0 h 1733550"/>
                <a:gd name="connsiteX0" fmla="*/ 7492365 w 8183880"/>
                <a:gd name="connsiteY0" fmla="*/ 0 h 1739265"/>
                <a:gd name="connsiteX1" fmla="*/ 1343025 w 8183880"/>
                <a:gd name="connsiteY1" fmla="*/ 0 h 1739265"/>
                <a:gd name="connsiteX2" fmla="*/ 0 w 8183880"/>
                <a:gd name="connsiteY2" fmla="*/ 0 h 1739265"/>
                <a:gd name="connsiteX3" fmla="*/ 1328738 w 8183880"/>
                <a:gd name="connsiteY3" fmla="*/ 278267 h 1739265"/>
                <a:gd name="connsiteX4" fmla="*/ 6757988 w 8183880"/>
                <a:gd name="connsiteY4" fmla="*/ 1436370 h 1739265"/>
                <a:gd name="connsiteX5" fmla="*/ 7566660 w 8183880"/>
                <a:gd name="connsiteY5" fmla="*/ 1608773 h 1739265"/>
                <a:gd name="connsiteX6" fmla="*/ 8183880 w 8183880"/>
                <a:gd name="connsiteY6" fmla="*/ 1739265 h 1739265"/>
                <a:gd name="connsiteX7" fmla="*/ 8183880 w 8183880"/>
                <a:gd name="connsiteY7" fmla="*/ 0 h 1739265"/>
                <a:gd name="connsiteX8" fmla="*/ 7492365 w 8183880"/>
                <a:gd name="connsiteY8" fmla="*/ 0 h 1739265"/>
                <a:gd name="connsiteX0" fmla="*/ 6163627 w 6855142"/>
                <a:gd name="connsiteY0" fmla="*/ 0 h 1739265"/>
                <a:gd name="connsiteX1" fmla="*/ 14287 w 6855142"/>
                <a:gd name="connsiteY1" fmla="*/ 0 h 1739265"/>
                <a:gd name="connsiteX2" fmla="*/ 0 w 6855142"/>
                <a:gd name="connsiteY2" fmla="*/ 278267 h 1739265"/>
                <a:gd name="connsiteX3" fmla="*/ 5429250 w 6855142"/>
                <a:gd name="connsiteY3" fmla="*/ 1436370 h 1739265"/>
                <a:gd name="connsiteX4" fmla="*/ 6237922 w 6855142"/>
                <a:gd name="connsiteY4" fmla="*/ 1608773 h 1739265"/>
                <a:gd name="connsiteX5" fmla="*/ 6855142 w 6855142"/>
                <a:gd name="connsiteY5" fmla="*/ 1739265 h 1739265"/>
                <a:gd name="connsiteX6" fmla="*/ 6855142 w 6855142"/>
                <a:gd name="connsiteY6" fmla="*/ 0 h 1739265"/>
                <a:gd name="connsiteX7" fmla="*/ 6163627 w 6855142"/>
                <a:gd name="connsiteY7" fmla="*/ 0 h 1739265"/>
                <a:gd name="connsiteX0" fmla="*/ 6165215 w 6856730"/>
                <a:gd name="connsiteY0" fmla="*/ 4764 h 1744029"/>
                <a:gd name="connsiteX1" fmla="*/ 0 w 6856730"/>
                <a:gd name="connsiteY1" fmla="*/ 0 h 1744029"/>
                <a:gd name="connsiteX2" fmla="*/ 1588 w 6856730"/>
                <a:gd name="connsiteY2" fmla="*/ 283031 h 1744029"/>
                <a:gd name="connsiteX3" fmla="*/ 5430838 w 6856730"/>
                <a:gd name="connsiteY3" fmla="*/ 1441134 h 1744029"/>
                <a:gd name="connsiteX4" fmla="*/ 6239510 w 6856730"/>
                <a:gd name="connsiteY4" fmla="*/ 1613537 h 1744029"/>
                <a:gd name="connsiteX5" fmla="*/ 6856730 w 6856730"/>
                <a:gd name="connsiteY5" fmla="*/ 1744029 h 1744029"/>
                <a:gd name="connsiteX6" fmla="*/ 6856730 w 6856730"/>
                <a:gd name="connsiteY6" fmla="*/ 4764 h 1744029"/>
                <a:gd name="connsiteX7" fmla="*/ 6165215 w 6856730"/>
                <a:gd name="connsiteY7" fmla="*/ 4764 h 1744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56730" h="1744029">
                  <a:moveTo>
                    <a:pt x="6165215" y="4764"/>
                  </a:moveTo>
                  <a:lnTo>
                    <a:pt x="0" y="0"/>
                  </a:lnTo>
                  <a:cubicBezTo>
                    <a:pt x="529" y="94344"/>
                    <a:pt x="1059" y="188687"/>
                    <a:pt x="1588" y="283031"/>
                  </a:cubicBezTo>
                  <a:lnTo>
                    <a:pt x="5430838" y="1441134"/>
                  </a:lnTo>
                  <a:lnTo>
                    <a:pt x="6239510" y="1613537"/>
                  </a:lnTo>
                  <a:lnTo>
                    <a:pt x="6856730" y="1744029"/>
                  </a:lnTo>
                  <a:lnTo>
                    <a:pt x="6856730" y="4764"/>
                  </a:lnTo>
                  <a:lnTo>
                    <a:pt x="6165215" y="4764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</p:grpSp>
      <p:pic>
        <p:nvPicPr>
          <p:cNvPr id="7" name="Graphic 6">
            <a:extLst>
              <a:ext uri="{FF2B5EF4-FFF2-40B4-BE49-F238E27FC236}">
                <a16:creationId xmlns:a16="http://schemas.microsoft.com/office/drawing/2014/main" id="{5354695C-7EAC-4EFF-99BD-7A2D76306966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0" y="0"/>
            <a:ext cx="1747930" cy="6858000"/>
          </a:xfrm>
          <a:prstGeom prst="rect">
            <a:avLst/>
          </a:prstGeom>
        </p:spPr>
      </p:pic>
      <p:sp>
        <p:nvSpPr>
          <p:cNvPr id="10" name="Titel 10">
            <a:extLst>
              <a:ext uri="{FF2B5EF4-FFF2-40B4-BE49-F238E27FC236}">
                <a16:creationId xmlns:a16="http://schemas.microsoft.com/office/drawing/2014/main" id="{BB00E46C-3D4F-4286-B077-8935A94A9E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0000" y="360000"/>
            <a:ext cx="9492863" cy="1170000"/>
          </a:xfrm>
        </p:spPr>
        <p:txBody>
          <a:bodyPr lIns="0" anchor="ctr" anchorCtr="0">
            <a:normAutofit/>
          </a:bodyPr>
          <a:lstStyle>
            <a:lvl1pPr>
              <a:defRPr sz="40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11" name="Tijdelijke aanduiding voor tekst 2">
            <a:extLst>
              <a:ext uri="{FF2B5EF4-FFF2-40B4-BE49-F238E27FC236}">
                <a16:creationId xmlns:a16="http://schemas.microsoft.com/office/drawing/2014/main" id="{8E44AC07-75B1-45FB-AB42-0803121D65B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80000" y="1980000"/>
            <a:ext cx="9496800" cy="4157275"/>
          </a:xfrm>
        </p:spPr>
        <p:txBody>
          <a:bodyPr lIns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cxnSp>
        <p:nvCxnSpPr>
          <p:cNvPr id="16" name="Rechte verbindingslijn 15">
            <a:extLst>
              <a:ext uri="{FF2B5EF4-FFF2-40B4-BE49-F238E27FC236}">
                <a16:creationId xmlns:a16="http://schemas.microsoft.com/office/drawing/2014/main" id="{9CB5BB07-6FDF-4790-B434-AE747F34BDE9}"/>
              </a:ext>
            </a:extLst>
          </p:cNvPr>
          <p:cNvCxnSpPr/>
          <p:nvPr userDrawn="1"/>
        </p:nvCxnSpPr>
        <p:spPr>
          <a:xfrm>
            <a:off x="1979999" y="1620000"/>
            <a:ext cx="900000" cy="0"/>
          </a:xfrm>
          <a:prstGeom prst="line">
            <a:avLst/>
          </a:prstGeom>
          <a:ln w="50800">
            <a:solidFill>
              <a:srgbClr val="FFE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4925527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-Bruss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Afbeelding met gebouw, buiten, mensen, groot&#10;&#10;Automatisch gegenereerde beschrijving">
            <a:extLst>
              <a:ext uri="{FF2B5EF4-FFF2-40B4-BE49-F238E27FC236}">
                <a16:creationId xmlns:a16="http://schemas.microsoft.com/office/drawing/2014/main" id="{C5256EE4-DF4B-4892-9B76-F331D003BD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674"/>
          <a:stretch/>
        </p:blipFill>
        <p:spPr>
          <a:xfrm>
            <a:off x="5251450" y="3140486"/>
            <a:ext cx="6940550" cy="3717513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5EA3C77F-083D-48B0-AEAB-76F0F0726E4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7306" cy="6857999"/>
          </a:xfrm>
          <a:prstGeom prst="rect">
            <a:avLst/>
          </a:prstGeom>
        </p:spPr>
      </p:pic>
      <p:sp>
        <p:nvSpPr>
          <p:cNvPr id="11" name="Titel 10">
            <a:extLst>
              <a:ext uri="{FF2B5EF4-FFF2-40B4-BE49-F238E27FC236}">
                <a16:creationId xmlns:a16="http://schemas.microsoft.com/office/drawing/2014/main" id="{2E250162-3FBD-465A-A88D-B1EF97043D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0000" y="720000"/>
            <a:ext cx="9493924" cy="720000"/>
          </a:xfrm>
        </p:spPr>
        <p:txBody>
          <a:bodyPr lIns="0" anchor="ctr" anchorCtr="0">
            <a:normAutofit/>
          </a:bodyPr>
          <a:lstStyle>
            <a:lvl1pPr>
              <a:defRPr sz="40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1E1B337E-B563-4F3A-9CDE-5329B589DA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80000" y="1980000"/>
            <a:ext cx="9496800" cy="4157275"/>
          </a:xfrm>
        </p:spPr>
        <p:txBody>
          <a:bodyPr lIns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54FFD4E6-B8F9-4E64-B530-04AF07E085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979999" y="359999"/>
            <a:ext cx="9492863" cy="396000"/>
          </a:xfrm>
        </p:spPr>
        <p:txBody>
          <a:bodyPr anchor="b" anchorCtr="0">
            <a:normAutofit/>
          </a:bodyPr>
          <a:lstStyle>
            <a:lvl1pPr>
              <a:defRPr sz="1200">
                <a:latin typeface="FlandersArtSans-Medium" panose="00000600000000000000" pitchFamily="2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  <a:endParaRPr lang="nl-BE"/>
          </a:p>
        </p:txBody>
      </p:sp>
      <p:cxnSp>
        <p:nvCxnSpPr>
          <p:cNvPr id="10" name="Rechte verbindingslijn 9">
            <a:extLst>
              <a:ext uri="{FF2B5EF4-FFF2-40B4-BE49-F238E27FC236}">
                <a16:creationId xmlns:a16="http://schemas.microsoft.com/office/drawing/2014/main" id="{E3A148CB-828F-4DFD-AA4C-69725B2E3FBA}"/>
              </a:ext>
            </a:extLst>
          </p:cNvPr>
          <p:cNvCxnSpPr/>
          <p:nvPr userDrawn="1"/>
        </p:nvCxnSpPr>
        <p:spPr>
          <a:xfrm>
            <a:off x="1979999" y="1620000"/>
            <a:ext cx="900000" cy="0"/>
          </a:xfrm>
          <a:prstGeom prst="line">
            <a:avLst/>
          </a:prstGeom>
          <a:ln w="50800">
            <a:solidFill>
              <a:srgbClr val="FFE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0929916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-brussel-instrume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>
            <a:extLst>
              <a:ext uri="{FF2B5EF4-FFF2-40B4-BE49-F238E27FC236}">
                <a16:creationId xmlns:a16="http://schemas.microsoft.com/office/drawing/2014/main" id="{0D75DC8D-8B90-46BC-944E-6C612A8FA6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56"/>
          <a:stretch>
            <a:fillRect/>
          </a:stretch>
        </p:blipFill>
        <p:spPr>
          <a:xfrm>
            <a:off x="0" y="0"/>
            <a:ext cx="6684827" cy="685800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0730FD37-3AFD-4998-A139-53FA093F62F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7307" cy="6858000"/>
          </a:xfrm>
          <a:prstGeom prst="rect">
            <a:avLst/>
          </a:prstGeom>
        </p:spPr>
      </p:pic>
      <p:sp>
        <p:nvSpPr>
          <p:cNvPr id="7" name="Titel 10">
            <a:extLst>
              <a:ext uri="{FF2B5EF4-FFF2-40B4-BE49-F238E27FC236}">
                <a16:creationId xmlns:a16="http://schemas.microsoft.com/office/drawing/2014/main" id="{85CA6835-A703-4473-918D-4B2D5488A3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0000" y="357188"/>
            <a:ext cx="6971638" cy="1081029"/>
          </a:xfrm>
          <a:noFill/>
        </p:spPr>
        <p:txBody>
          <a:bodyPr lIns="0" tIns="0" anchor="ctr" anchorCtr="0">
            <a:normAutofit/>
          </a:bodyPr>
          <a:lstStyle>
            <a:lvl1pPr algn="l">
              <a:defRPr sz="40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65C809DF-DE53-4F87-BA6D-E6C07F856F9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60000" y="1799999"/>
            <a:ext cx="6971638" cy="3960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cxnSp>
        <p:nvCxnSpPr>
          <p:cNvPr id="10" name="Rechte verbindingslijn 9">
            <a:extLst>
              <a:ext uri="{FF2B5EF4-FFF2-40B4-BE49-F238E27FC236}">
                <a16:creationId xmlns:a16="http://schemas.microsoft.com/office/drawing/2014/main" id="{261E8574-92FB-45B0-8324-0FDBB0603D6D}"/>
              </a:ext>
            </a:extLst>
          </p:cNvPr>
          <p:cNvCxnSpPr/>
          <p:nvPr userDrawn="1"/>
        </p:nvCxnSpPr>
        <p:spPr>
          <a:xfrm>
            <a:off x="4860000" y="1440000"/>
            <a:ext cx="900000" cy="0"/>
          </a:xfrm>
          <a:prstGeom prst="line">
            <a:avLst/>
          </a:prstGeom>
          <a:ln w="50800">
            <a:solidFill>
              <a:srgbClr val="FFE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891005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-blijf op de hoog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2B140009-D296-44AC-9500-69C690B03F1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A905F8F9-A082-4A0F-8A07-9AA5C01FC1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260000"/>
            <a:ext cx="12193200" cy="1890000"/>
          </a:xfrm>
        </p:spPr>
        <p:txBody>
          <a:bodyPr lIns="720000" tIns="180000" rIns="720000"/>
          <a:lstStyle/>
          <a:p>
            <a:r>
              <a:rPr lang="nl-NL"/>
              <a:t>Klik om stijl te bewerken</a:t>
            </a:r>
            <a:endParaRPr lang="nl-BE"/>
          </a:p>
        </p:txBody>
      </p:sp>
      <p:pic>
        <p:nvPicPr>
          <p:cNvPr id="17" name="Graphic 16">
            <a:hlinkClick r:id="rId3" action="ppaction://hlinksldjump"/>
            <a:extLst>
              <a:ext uri="{FF2B5EF4-FFF2-40B4-BE49-F238E27FC236}">
                <a16:creationId xmlns:a16="http://schemas.microsoft.com/office/drawing/2014/main" id="{AC77402D-E395-492E-8E40-C42BA6F6C7FD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4800" y="540000"/>
            <a:ext cx="604550" cy="770400"/>
          </a:xfrm>
          <a:prstGeom prst="rect">
            <a:avLst/>
          </a:prstGeom>
        </p:spPr>
      </p:pic>
      <p:sp>
        <p:nvSpPr>
          <p:cNvPr id="19" name="Tijdelijke aanduiding voor tekst 18">
            <a:extLst>
              <a:ext uri="{FF2B5EF4-FFF2-40B4-BE49-F238E27FC236}">
                <a16:creationId xmlns:a16="http://schemas.microsoft.com/office/drawing/2014/main" id="{14019916-3AE5-40D8-9399-B27DF8CED5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726" y="3150000"/>
            <a:ext cx="10752138" cy="900000"/>
          </a:xfrm>
        </p:spPr>
        <p:txBody>
          <a:bodyPr anchor="ctr" anchorCtr="0"/>
          <a:lstStyle>
            <a:lvl2pPr marL="360000" indent="0">
              <a:buNone/>
              <a:defRPr/>
            </a:lvl2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2170744536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-contact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 descr="Afbeelding met binnen, gebouw, tafel, grond&#10;&#10;Automatisch gegenereerde beschrijving">
            <a:extLst>
              <a:ext uri="{FF2B5EF4-FFF2-40B4-BE49-F238E27FC236}">
                <a16:creationId xmlns:a16="http://schemas.microsoft.com/office/drawing/2014/main" id="{16D87913-64D6-4BB1-A6A6-19503D064F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37"/>
          <a:stretch/>
        </p:blipFill>
        <p:spPr>
          <a:xfrm>
            <a:off x="-1" y="0"/>
            <a:ext cx="5545547" cy="685800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0730FD37-3AFD-4998-A139-53FA093F62F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7307" cy="6858000"/>
          </a:xfrm>
          <a:prstGeom prst="rect">
            <a:avLst/>
          </a:prstGeom>
        </p:spPr>
      </p:pic>
      <p:sp>
        <p:nvSpPr>
          <p:cNvPr id="7" name="Titel 10">
            <a:extLst>
              <a:ext uri="{FF2B5EF4-FFF2-40B4-BE49-F238E27FC236}">
                <a16:creationId xmlns:a16="http://schemas.microsoft.com/office/drawing/2014/main" id="{85CA6835-A703-4473-918D-4B2D5488A3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362" y="357188"/>
            <a:ext cx="6072863" cy="1081029"/>
          </a:xfrm>
          <a:noFill/>
        </p:spPr>
        <p:txBody>
          <a:bodyPr lIns="0" tIns="0" anchor="ctr" anchorCtr="0">
            <a:normAutofit/>
          </a:bodyPr>
          <a:lstStyle>
            <a:lvl1pPr algn="l">
              <a:defRPr sz="40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65C809DF-DE53-4F87-BA6D-E6C07F856F9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60362" y="1799999"/>
            <a:ext cx="6071276" cy="3960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E1B885BB-EF28-4CAD-9B74-B1FB6C6EB739}"/>
              </a:ext>
            </a:extLst>
          </p:cNvPr>
          <p:cNvCxnSpPr/>
          <p:nvPr userDrawn="1"/>
        </p:nvCxnSpPr>
        <p:spPr>
          <a:xfrm>
            <a:off x="5760362" y="1440000"/>
            <a:ext cx="900000" cy="0"/>
          </a:xfrm>
          <a:prstGeom prst="line">
            <a:avLst/>
          </a:prstGeom>
          <a:ln w="50800">
            <a:solidFill>
              <a:srgbClr val="FFE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phic 12">
            <a:hlinkClick r:id="rId4" action="ppaction://hlinksldjump"/>
            <a:extLst>
              <a:ext uri="{FF2B5EF4-FFF2-40B4-BE49-F238E27FC236}">
                <a16:creationId xmlns:a16="http://schemas.microsoft.com/office/drawing/2014/main" id="{D5FFBB84-DDF4-471E-9B11-1889D4661919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4800" y="540000"/>
            <a:ext cx="604550" cy="77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3598604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-titel-tekst//geel-grijs//GEEN LIJ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BA751AC2-9D5E-41BC-899A-2B7DB98B448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4010025" y="0"/>
            <a:ext cx="8181975" cy="1743075"/>
          </a:xfrm>
          <a:prstGeom prst="rect">
            <a:avLst/>
          </a:prstGeom>
        </p:spPr>
      </p:pic>
      <p:sp>
        <p:nvSpPr>
          <p:cNvPr id="14" name="Titel 13">
            <a:extLst>
              <a:ext uri="{FF2B5EF4-FFF2-40B4-BE49-F238E27FC236}">
                <a16:creationId xmlns:a16="http://schemas.microsoft.com/office/drawing/2014/main" id="{CFFADA01-1A92-42A5-8352-E3EEC3837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720367"/>
            <a:ext cx="10753200" cy="720000"/>
          </a:xfrm>
        </p:spPr>
        <p:txBody>
          <a:bodyPr anchor="ctr" anchorCtr="0">
            <a:normAutofit/>
          </a:bodyPr>
          <a:lstStyle>
            <a:lvl1pPr>
              <a:defRPr sz="36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15" name="Tijdelijke aanduiding voor tekst 2">
            <a:extLst>
              <a:ext uri="{FF2B5EF4-FFF2-40B4-BE49-F238E27FC236}">
                <a16:creationId xmlns:a16="http://schemas.microsoft.com/office/drawing/2014/main" id="{6A43CE44-E083-4BCC-B28E-A7F4B39010B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725" y="1799999"/>
            <a:ext cx="10752138" cy="3960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11" name="Tijdelijke aanduiding voor tekst 6">
            <a:extLst>
              <a:ext uri="{FF2B5EF4-FFF2-40B4-BE49-F238E27FC236}">
                <a16:creationId xmlns:a16="http://schemas.microsoft.com/office/drawing/2014/main" id="{87D5025A-001D-40C6-8E94-1911C0B720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725" y="359999"/>
            <a:ext cx="9492863" cy="396000"/>
          </a:xfrm>
        </p:spPr>
        <p:txBody>
          <a:bodyPr anchor="b" anchorCtr="0">
            <a:normAutofit/>
          </a:bodyPr>
          <a:lstStyle>
            <a:lvl1pPr>
              <a:defRPr sz="1200">
                <a:latin typeface="FlandersArtSans-Medium" panose="00000600000000000000" pitchFamily="2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pic>
        <p:nvPicPr>
          <p:cNvPr id="8" name="Graphic 7">
            <a:hlinkClick r:id="" action="ppaction://noaction"/>
            <a:extLst>
              <a:ext uri="{FF2B5EF4-FFF2-40B4-BE49-F238E27FC236}">
                <a16:creationId xmlns:a16="http://schemas.microsoft.com/office/drawing/2014/main" id="{74398C68-CFE1-4537-A5CD-6A225690C47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26557" y="5956050"/>
            <a:ext cx="1311431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0744208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ijs vl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24762016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BB_domein00_algemeen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E5ED4797-6B38-4DEC-A43D-AF91CC36E67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0" y="0"/>
            <a:ext cx="1747930" cy="6858000"/>
          </a:xfrm>
          <a:prstGeom prst="rect">
            <a:avLst/>
          </a:prstGeom>
        </p:spPr>
      </p:pic>
      <p:sp>
        <p:nvSpPr>
          <p:cNvPr id="11" name="Titel 10">
            <a:extLst>
              <a:ext uri="{FF2B5EF4-FFF2-40B4-BE49-F238E27FC236}">
                <a16:creationId xmlns:a16="http://schemas.microsoft.com/office/drawing/2014/main" id="{2E250162-3FBD-465A-A88D-B1EF97043D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0000" y="720000"/>
            <a:ext cx="9493924" cy="720000"/>
          </a:xfrm>
        </p:spPr>
        <p:txBody>
          <a:bodyPr lIns="0" anchor="ctr" anchorCtr="0">
            <a:normAutofit/>
          </a:bodyPr>
          <a:lstStyle>
            <a:lvl1pPr>
              <a:defRPr sz="36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1E1B337E-B563-4F3A-9CDE-5329B589DA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80000" y="1980000"/>
            <a:ext cx="9496800" cy="4157275"/>
          </a:xfrm>
        </p:spPr>
        <p:txBody>
          <a:bodyPr lIns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pic>
        <p:nvPicPr>
          <p:cNvPr id="7" name="Graphic 6">
            <a:hlinkClick r:id="" action="ppaction://noaction"/>
            <a:extLst>
              <a:ext uri="{FF2B5EF4-FFF2-40B4-BE49-F238E27FC236}">
                <a16:creationId xmlns:a16="http://schemas.microsoft.com/office/drawing/2014/main" id="{9428F45E-814A-4F25-BF29-6D4EDF953B7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8774" y="357189"/>
            <a:ext cx="1008000" cy="415058"/>
          </a:xfrm>
          <a:prstGeom prst="rect">
            <a:avLst/>
          </a:prstGeom>
        </p:spPr>
      </p:pic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54FFD4E6-B8F9-4E64-B530-04AF07E085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979999" y="359999"/>
            <a:ext cx="9492863" cy="396000"/>
          </a:xfrm>
        </p:spPr>
        <p:txBody>
          <a:bodyPr anchor="b" anchorCtr="0">
            <a:normAutofit/>
          </a:bodyPr>
          <a:lstStyle>
            <a:lvl1pPr>
              <a:defRPr sz="1200">
                <a:latin typeface="FlandersArtSans-Medium" panose="00000600000000000000" pitchFamily="2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09204610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B_domein01_lokaal bestuu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E5ED4797-6B38-4DEC-A43D-AF91CC36E67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0" y="0"/>
            <a:ext cx="1747930" cy="6858000"/>
          </a:xfrm>
          <a:prstGeom prst="rect">
            <a:avLst/>
          </a:prstGeom>
        </p:spPr>
      </p:pic>
      <p:sp>
        <p:nvSpPr>
          <p:cNvPr id="11" name="Titel 10">
            <a:extLst>
              <a:ext uri="{FF2B5EF4-FFF2-40B4-BE49-F238E27FC236}">
                <a16:creationId xmlns:a16="http://schemas.microsoft.com/office/drawing/2014/main" id="{2E250162-3FBD-465A-A88D-B1EF97043D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0000" y="720000"/>
            <a:ext cx="9493924" cy="720000"/>
          </a:xfrm>
        </p:spPr>
        <p:txBody>
          <a:bodyPr lIns="0" anchor="ctr" anchorCtr="0">
            <a:normAutofit/>
          </a:bodyPr>
          <a:lstStyle>
            <a:lvl1pPr>
              <a:defRPr sz="36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1E1B337E-B563-4F3A-9CDE-5329B589DA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80000" y="1980000"/>
            <a:ext cx="9496800" cy="4157275"/>
          </a:xfrm>
        </p:spPr>
        <p:txBody>
          <a:bodyPr lIns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pic>
        <p:nvPicPr>
          <p:cNvPr id="7" name="Graphic 6">
            <a:hlinkClick r:id="" action="ppaction://noaction"/>
            <a:extLst>
              <a:ext uri="{FF2B5EF4-FFF2-40B4-BE49-F238E27FC236}">
                <a16:creationId xmlns:a16="http://schemas.microsoft.com/office/drawing/2014/main" id="{9428F45E-814A-4F25-BF29-6D4EDF953B7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8775" y="357188"/>
            <a:ext cx="1008000" cy="415060"/>
          </a:xfrm>
          <a:prstGeom prst="rect">
            <a:avLst/>
          </a:prstGeom>
        </p:spPr>
      </p:pic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54FFD4E6-B8F9-4E64-B530-04AF07E085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979999" y="359999"/>
            <a:ext cx="9492863" cy="396000"/>
          </a:xfrm>
        </p:spPr>
        <p:txBody>
          <a:bodyPr anchor="b" anchorCtr="0">
            <a:normAutofit/>
          </a:bodyPr>
          <a:lstStyle>
            <a:lvl1pPr>
              <a:defRPr sz="1200">
                <a:latin typeface="FlandersArtSans-Medium" panose="00000600000000000000" pitchFamily="2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A212F108-9916-4A3D-A5BF-C3933DB0BEB8}"/>
              </a:ext>
            </a:extLst>
          </p:cNvPr>
          <p:cNvSpPr txBox="1"/>
          <p:nvPr userDrawn="1"/>
        </p:nvSpPr>
        <p:spPr>
          <a:xfrm rot="1620000">
            <a:off x="290309" y="1385441"/>
            <a:ext cx="1106249" cy="720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>
              <a:lnSpc>
                <a:spcPts val="1400"/>
              </a:lnSpc>
            </a:pPr>
            <a:r>
              <a:rPr lang="nl-BE" sz="1300" spc="-20" baseline="0">
                <a:solidFill>
                  <a:srgbClr val="3C3D3C"/>
                </a:solidFill>
                <a:latin typeface="FlandersArtSans-Medium" panose="00000600000000000000" pitchFamily="2" charset="0"/>
              </a:rPr>
              <a:t>Lokaal</a:t>
            </a:r>
          </a:p>
          <a:p>
            <a:pPr algn="l">
              <a:lnSpc>
                <a:spcPts val="1400"/>
              </a:lnSpc>
            </a:pPr>
            <a:r>
              <a:rPr lang="nl-BE" sz="1300" spc="-20" baseline="0">
                <a:solidFill>
                  <a:srgbClr val="3C3D3C"/>
                </a:solidFill>
                <a:latin typeface="FlandersArtSans-Medium" panose="00000600000000000000" pitchFamily="2" charset="0"/>
              </a:rPr>
              <a:t>  bestuur</a:t>
            </a:r>
          </a:p>
          <a:p>
            <a:pPr algn="l">
              <a:lnSpc>
                <a:spcPts val="1400"/>
              </a:lnSpc>
            </a:pPr>
            <a:r>
              <a:rPr lang="nl-BE" sz="1300" spc="-20" baseline="0">
                <a:solidFill>
                  <a:srgbClr val="3C3D3C"/>
                </a:solidFill>
                <a:latin typeface="FlandersArtSans-Medium" panose="00000600000000000000" pitchFamily="2" charset="0"/>
              </a:rPr>
              <a:t>    _____</a:t>
            </a:r>
          </a:p>
        </p:txBody>
      </p:sp>
    </p:spTree>
    <p:extLst>
      <p:ext uri="{BB962C8B-B14F-4D97-AF65-F5344CB8AC3E}">
        <p14:creationId xmlns:p14="http://schemas.microsoft.com/office/powerpoint/2010/main" val="3951737076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BB_domein00_algem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E5ED4797-6B38-4DEC-A43D-AF91CC36E67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0" y="0"/>
            <a:ext cx="1747930" cy="6858000"/>
          </a:xfrm>
          <a:prstGeom prst="rect">
            <a:avLst/>
          </a:prstGeom>
        </p:spPr>
      </p:pic>
      <p:sp>
        <p:nvSpPr>
          <p:cNvPr id="11" name="Titel 10">
            <a:extLst>
              <a:ext uri="{FF2B5EF4-FFF2-40B4-BE49-F238E27FC236}">
                <a16:creationId xmlns:a16="http://schemas.microsoft.com/office/drawing/2014/main" id="{2E250162-3FBD-465A-A88D-B1EF97043D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0000" y="357189"/>
            <a:ext cx="9493924" cy="1082811"/>
          </a:xfrm>
        </p:spPr>
        <p:txBody>
          <a:bodyPr lIns="0" anchor="ctr" anchorCtr="0">
            <a:normAutofit/>
          </a:bodyPr>
          <a:lstStyle>
            <a:lvl1pPr>
              <a:defRPr sz="36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1E1B337E-B563-4F3A-9CDE-5329B589DA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80000" y="1980000"/>
            <a:ext cx="9496800" cy="4157275"/>
          </a:xfrm>
        </p:spPr>
        <p:txBody>
          <a:bodyPr lIns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pic>
        <p:nvPicPr>
          <p:cNvPr id="7" name="Graphic 6">
            <a:hlinkClick r:id="" action="ppaction://noaction"/>
            <a:extLst>
              <a:ext uri="{FF2B5EF4-FFF2-40B4-BE49-F238E27FC236}">
                <a16:creationId xmlns:a16="http://schemas.microsoft.com/office/drawing/2014/main" id="{9428F45E-814A-4F25-BF29-6D4EDF953B7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8774" y="357189"/>
            <a:ext cx="1008000" cy="415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032827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oorpag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Afbeelding 13" descr="Afbeelding met venster&#10;&#10;Automatisch gegenereerde beschrijving">
            <a:extLst>
              <a:ext uri="{FF2B5EF4-FFF2-40B4-BE49-F238E27FC236}">
                <a16:creationId xmlns:a16="http://schemas.microsoft.com/office/drawing/2014/main" id="{CAC0A74B-F401-4275-A5AD-16CE68BB6F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22840" y="0"/>
            <a:ext cx="6546800" cy="4323522"/>
          </a:xfrm>
          <a:prstGeom prst="rect">
            <a:avLst/>
          </a:prstGeom>
        </p:spPr>
      </p:pic>
      <p:pic>
        <p:nvPicPr>
          <p:cNvPr id="11" name="Afbeelding 10" descr="Afbeelding met venster, persoon&#10;&#10;Automatisch gegenereerde beschrijving">
            <a:extLst>
              <a:ext uri="{FF2B5EF4-FFF2-40B4-BE49-F238E27FC236}">
                <a16:creationId xmlns:a16="http://schemas.microsoft.com/office/drawing/2014/main" id="{E4F0402F-C3A6-4D41-A567-BE92376E22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"/>
            <a:ext cx="3041374" cy="4190074"/>
          </a:xfrm>
          <a:prstGeom prst="rect">
            <a:avLst/>
          </a:prstGeom>
        </p:spPr>
      </p:pic>
      <p:pic>
        <p:nvPicPr>
          <p:cNvPr id="7" name="Afbeelding 6" descr="Afbeelding met gebouw, persoon, buiten&#10;&#10;Automatisch gegenereerde beschrijving">
            <a:extLst>
              <a:ext uri="{FF2B5EF4-FFF2-40B4-BE49-F238E27FC236}">
                <a16:creationId xmlns:a16="http://schemas.microsoft.com/office/drawing/2014/main" id="{49CBA059-4E5C-4E2D-80F4-E58A4F6020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01616" y="0"/>
            <a:ext cx="5078897" cy="3784645"/>
          </a:xfrm>
          <a:prstGeom prst="rect">
            <a:avLst/>
          </a:prstGeom>
        </p:spPr>
      </p:pic>
      <p:pic>
        <p:nvPicPr>
          <p:cNvPr id="3" name="Afbeelding 2">
            <a:extLst>
              <a:ext uri="{FF2B5EF4-FFF2-40B4-BE49-F238E27FC236}">
                <a16:creationId xmlns:a16="http://schemas.microsoft.com/office/drawing/2014/main" id="{1504C38A-C048-4F7B-BE12-F20F4C154D8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0" y="2322871"/>
            <a:ext cx="12193199" cy="4535450"/>
          </a:xfrm>
          <a:prstGeom prst="rect">
            <a:avLst/>
          </a:prstGeom>
        </p:spPr>
      </p:pic>
      <p:sp>
        <p:nvSpPr>
          <p:cNvPr id="15" name="TextBox 6">
            <a:extLst>
              <a:ext uri="{FF2B5EF4-FFF2-40B4-BE49-F238E27FC236}">
                <a16:creationId xmlns:a16="http://schemas.microsoft.com/office/drawing/2014/main" id="{E258003E-8830-4CF5-ACCD-F685F338C066}"/>
              </a:ext>
            </a:extLst>
          </p:cNvPr>
          <p:cNvSpPr txBox="1"/>
          <p:nvPr userDrawn="1"/>
        </p:nvSpPr>
        <p:spPr>
          <a:xfrm>
            <a:off x="8238611" y="5832108"/>
            <a:ext cx="3600000" cy="720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/>
            <a:r>
              <a:rPr lang="nl-BE" sz="1800" u="none">
                <a:solidFill>
                  <a:srgbClr val="373737"/>
                </a:solidFill>
                <a:latin typeface="FlandersArtSans-Medium" panose="00000600000000000000" pitchFamily="2" charset="0"/>
                <a:hlinkClick r:id="rId6"/>
              </a:rPr>
              <a:t>binnenland.vlaanderen.be</a:t>
            </a:r>
            <a:endParaRPr lang="nl-BE" sz="1800" u="none">
              <a:solidFill>
                <a:srgbClr val="373737"/>
              </a:solidFill>
              <a:latin typeface="FlandersArtSans-Medium" panose="00000600000000000000" pitchFamily="2" charset="0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BE" sz="1800">
                <a:solidFill>
                  <a:schemeClr val="tx2"/>
                </a:solidFill>
              </a:rPr>
              <a:t>#burgers #bestuur #verbinden</a:t>
            </a: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6B42DCD9-D851-4D77-A5EB-7E23F08E7D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000" y="5778000"/>
            <a:ext cx="5370702" cy="774000"/>
          </a:xfrm>
        </p:spPr>
        <p:txBody>
          <a:bodyPr tIns="0" anchor="b" anchorCtr="0">
            <a:normAutofit/>
          </a:bodyPr>
          <a:lstStyle>
            <a:lvl1pPr>
              <a:lnSpc>
                <a:spcPct val="100000"/>
              </a:lnSpc>
              <a:defRPr sz="1800"/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1C1ACF8B-F1E5-4DA3-8932-3FDFCA4463A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213200" y="540058"/>
            <a:ext cx="1980000" cy="768493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D9D792B-D741-490B-A147-8994E29CF3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5040000"/>
            <a:ext cx="5370702" cy="720000"/>
          </a:xfrm>
        </p:spPr>
        <p:txBody>
          <a:bodyPr anchor="b" anchorCtr="0">
            <a:normAutofit/>
          </a:bodyPr>
          <a:lstStyle>
            <a:lvl1pPr>
              <a:defRPr sz="24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3C068A00-1F6A-4610-B3C3-67D673B69EB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0724" y="3420000"/>
            <a:ext cx="7200000" cy="1260000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3600">
                <a:latin typeface="FlandersArtSans-Medium" panose="00000600000000000000" pitchFamily="2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509993070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61851F-FDF7-42D9-BD4C-B445C92CED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03731BFC-B440-4A35-8BB6-2981F10C603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D474EBE4-C60A-466F-884F-77C8B6ECC5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C75CB0-B811-499B-84E8-33CDD9E8F98B}" type="datetimeFigureOut">
              <a:rPr lang="nl-BE" smtClean="0"/>
              <a:t>24/04/2026</a:t>
            </a:fld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7B46B9EA-D15C-40A6-90A0-4BB283FC74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CE562664-FDD8-4E8D-BD48-32767D7080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43B61C-726A-46D3-8176-812F0A48FFD8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829820148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F424E34-7E5F-454F-882C-6C651434415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94F5E60E-1567-4174-9345-0C102AD59B4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  <a:endParaRPr lang="nl-BE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0D46FD22-9935-4965-ACE7-E7DE32979B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C75CB0-B811-499B-84E8-33CDD9E8F98B}" type="datetimeFigureOut">
              <a:rPr lang="nl-BE" smtClean="0"/>
              <a:t>24/04/2026</a:t>
            </a:fld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C85909AC-9FBA-4507-982A-1AF45C4AEF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A14489D-5030-4FC6-BF10-71634C7BDE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43B61C-726A-46D3-8176-812F0A48FFD8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575187721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lgemeen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troomdiagram: Handmatige invoer 3">
            <a:extLst>
              <a:ext uri="{FF2B5EF4-FFF2-40B4-BE49-F238E27FC236}">
                <a16:creationId xmlns:a16="http://schemas.microsoft.com/office/drawing/2014/main" id="{6F7878C3-37F8-42E2-A6B1-6EE2459B62A5}"/>
              </a:ext>
            </a:extLst>
          </p:cNvPr>
          <p:cNvSpPr/>
          <p:nvPr userDrawn="1"/>
        </p:nvSpPr>
        <p:spPr>
          <a:xfrm rot="16200000">
            <a:off x="5327909" y="-6100"/>
            <a:ext cx="6857999" cy="6870197"/>
          </a:xfrm>
          <a:prstGeom prst="flowChartManualInpu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4EBF8E1-91F2-4E4B-AF7C-1A2084AB5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BE"/>
              <a:t>Digitaal Vlaanderen \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EA04B5B-B226-4E77-B512-C407B06E7A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ABE038-A425-4CC0-917A-1DC3ED725B2E}" type="slidenum">
              <a:rPr lang="nl-BE" smtClean="0"/>
              <a:t>‹nr.›</a:t>
            </a:fld>
            <a:endParaRPr lang="nl-BE"/>
          </a:p>
        </p:txBody>
      </p:sp>
      <p:sp>
        <p:nvSpPr>
          <p:cNvPr id="10" name="Tijdelijke aanduiding voor inhoud 2">
            <a:extLst>
              <a:ext uri="{FF2B5EF4-FFF2-40B4-BE49-F238E27FC236}">
                <a16:creationId xmlns:a16="http://schemas.microsoft.com/office/drawing/2014/main" id="{C8CDFBAB-2DE5-4AEE-947D-37C2E4EF0F0A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57382" y="1879101"/>
            <a:ext cx="5088099" cy="42978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l-NL"/>
              <a:t>Eerste niveau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13" name="Tijdelijke aanduiding voor tekst 9">
            <a:extLst>
              <a:ext uri="{FF2B5EF4-FFF2-40B4-BE49-F238E27FC236}">
                <a16:creationId xmlns:a16="http://schemas.microsoft.com/office/drawing/2014/main" id="{25168376-D6BD-4400-8E73-04905498402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7383" y="1241550"/>
            <a:ext cx="5088099" cy="464637"/>
          </a:xfrm>
        </p:spPr>
        <p:txBody>
          <a:bodyPr anchor="ctr"/>
          <a:lstStyle>
            <a:lvl1pPr>
              <a:defRPr sz="2400" b="1" cap="all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nl-BE"/>
              <a:t>TUSSENTITEL</a:t>
            </a:r>
          </a:p>
        </p:txBody>
      </p:sp>
      <p:sp>
        <p:nvSpPr>
          <p:cNvPr id="17" name="Tijdelijke aanduiding voor tekst 16">
            <a:extLst>
              <a:ext uri="{FF2B5EF4-FFF2-40B4-BE49-F238E27FC236}">
                <a16:creationId xmlns:a16="http://schemas.microsoft.com/office/drawing/2014/main" id="{09B268E9-FCE8-4419-8F3B-C6C9FC3862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7225" y="365125"/>
            <a:ext cx="5088258" cy="703511"/>
          </a:xfrm>
        </p:spPr>
        <p:txBody>
          <a:bodyPr anchor="ctr">
            <a:noAutofit/>
          </a:bodyPr>
          <a:lstStyle>
            <a:lvl1pPr>
              <a:defRPr sz="3600">
                <a:latin typeface="+mj-lt"/>
              </a:defRPr>
            </a:lvl1pPr>
          </a:lstStyle>
          <a:p>
            <a:pPr lvl="0"/>
            <a:r>
              <a:rPr lang="nl-BE"/>
              <a:t>Hoofdtit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D20A3D5-2385-43F4-83E9-45A9CE457DB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46838" y="365125"/>
            <a:ext cx="5087937" cy="5811838"/>
          </a:xfrm>
        </p:spPr>
        <p:txBody>
          <a:bodyPr/>
          <a:lstStyle>
            <a:lvl1pPr>
              <a:defRPr u="none" baseline="0">
                <a:uFill>
                  <a:solidFill>
                    <a:schemeClr val="bg1"/>
                  </a:solidFill>
                </a:uFill>
              </a:defRPr>
            </a:lvl1pPr>
            <a:lvl2pPr>
              <a:defRPr u="none" baseline="0">
                <a:uFill>
                  <a:solidFill>
                    <a:schemeClr val="bg1"/>
                  </a:solidFill>
                </a:uFill>
              </a:defRPr>
            </a:lvl2pPr>
            <a:lvl3pPr>
              <a:defRPr u="none" baseline="0">
                <a:uFill>
                  <a:solidFill>
                    <a:schemeClr val="bg1"/>
                  </a:solidFill>
                </a:uFill>
              </a:defRPr>
            </a:lvl3pPr>
            <a:lvl4pPr>
              <a:defRPr u="none" baseline="0">
                <a:uFill>
                  <a:solidFill>
                    <a:schemeClr val="bg1"/>
                  </a:solidFill>
                </a:uFill>
              </a:defRPr>
            </a:lvl4pPr>
            <a:lvl5pPr>
              <a:defRPr u="none" baseline="0">
                <a:uFill>
                  <a:solidFill>
                    <a:schemeClr val="bg1"/>
                  </a:solidFill>
                </a:uFill>
              </a:defRPr>
            </a:lvl5pPr>
          </a:lstStyle>
          <a:p>
            <a:pPr lvl="0"/>
            <a:r>
              <a:rPr lang="en-US" err="1"/>
              <a:t>Eerste</a:t>
            </a:r>
            <a:r>
              <a:rPr lang="en-US"/>
              <a:t> </a:t>
            </a:r>
            <a:r>
              <a:rPr lang="en-US" err="1"/>
              <a:t>niveau</a:t>
            </a:r>
            <a:endParaRPr lang="en-US"/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032475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nl-BE" smtClean="0"/>
              <a:pPr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74917543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el-tekst//geel//LIJN//logoBove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65C809DF-DE53-4F87-BA6D-E6C07F856F9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725" y="1799999"/>
            <a:ext cx="10752138" cy="3960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32F63AF-17D1-4117-AD09-4BB236E7B21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5419725" y="0"/>
            <a:ext cx="6772275" cy="1438275"/>
          </a:xfrm>
          <a:prstGeom prst="rect">
            <a:avLst/>
          </a:prstGeom>
        </p:spPr>
      </p:pic>
      <p:sp>
        <p:nvSpPr>
          <p:cNvPr id="16" name="Titel 13">
            <a:extLst>
              <a:ext uri="{FF2B5EF4-FFF2-40B4-BE49-F238E27FC236}">
                <a16:creationId xmlns:a16="http://schemas.microsoft.com/office/drawing/2014/main" id="{F265506E-0B97-4EC8-A558-3BC473CC55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357189"/>
            <a:ext cx="10753200" cy="1080000"/>
          </a:xfrm>
        </p:spPr>
        <p:txBody>
          <a:bodyPr anchor="ctr" anchorCtr="0">
            <a:normAutofit/>
          </a:bodyPr>
          <a:lstStyle>
            <a:lvl1pPr>
              <a:lnSpc>
                <a:spcPct val="95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pic>
        <p:nvPicPr>
          <p:cNvPr id="7" name="Graphic 6">
            <a:hlinkClick r:id="" action="ppaction://noaction"/>
            <a:extLst>
              <a:ext uri="{FF2B5EF4-FFF2-40B4-BE49-F238E27FC236}">
                <a16:creationId xmlns:a16="http://schemas.microsoft.com/office/drawing/2014/main" id="{D51D7E58-7899-4B1F-A26A-C5E001A53B3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3638" y="357188"/>
            <a:ext cx="1008000" cy="415060"/>
          </a:xfrm>
          <a:prstGeom prst="rect">
            <a:avLst/>
          </a:prstGeom>
        </p:spPr>
      </p:pic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D63A4364-EF9D-49E9-84AA-D6F2A22D346A}"/>
              </a:ext>
            </a:extLst>
          </p:cNvPr>
          <p:cNvCxnSpPr/>
          <p:nvPr userDrawn="1"/>
        </p:nvCxnSpPr>
        <p:spPr>
          <a:xfrm>
            <a:off x="720725" y="1440000"/>
            <a:ext cx="900000" cy="0"/>
          </a:xfrm>
          <a:prstGeom prst="line">
            <a:avLst/>
          </a:prstGeom>
          <a:ln w="50800">
            <a:solidFill>
              <a:srgbClr val="FFE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16DA0C5A-296C-481E-93EC-5C3C0BB4A0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854D495-7224-4CA1-A1F2-96D892C452AE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8101535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B_domein01_lokaal bestuur HEADER + lij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E5ED4797-6B38-4DEC-A43D-AF91CC36E67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0" y="0"/>
            <a:ext cx="1747930" cy="6858000"/>
          </a:xfrm>
          <a:prstGeom prst="rect">
            <a:avLst/>
          </a:prstGeom>
        </p:spPr>
      </p:pic>
      <p:sp>
        <p:nvSpPr>
          <p:cNvPr id="11" name="Titel 10">
            <a:extLst>
              <a:ext uri="{FF2B5EF4-FFF2-40B4-BE49-F238E27FC236}">
                <a16:creationId xmlns:a16="http://schemas.microsoft.com/office/drawing/2014/main" id="{2E250162-3FBD-465A-A88D-B1EF97043D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0000" y="720000"/>
            <a:ext cx="9493924" cy="720000"/>
          </a:xfrm>
        </p:spPr>
        <p:txBody>
          <a:bodyPr lIns="0" anchor="ctr" anchorCtr="0">
            <a:normAutofit/>
          </a:bodyPr>
          <a:lstStyle>
            <a:lvl1pPr>
              <a:defRPr sz="36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1E1B337E-B563-4F3A-9CDE-5329B589DA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80000" y="1980000"/>
            <a:ext cx="9496800" cy="4157275"/>
          </a:xfrm>
        </p:spPr>
        <p:txBody>
          <a:bodyPr lIns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pic>
        <p:nvPicPr>
          <p:cNvPr id="7" name="Graphic 6">
            <a:hlinkClick r:id="" action="ppaction://noaction"/>
            <a:extLst>
              <a:ext uri="{FF2B5EF4-FFF2-40B4-BE49-F238E27FC236}">
                <a16:creationId xmlns:a16="http://schemas.microsoft.com/office/drawing/2014/main" id="{9428F45E-814A-4F25-BF29-6D4EDF953B7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8775" y="357188"/>
            <a:ext cx="1008000" cy="415060"/>
          </a:xfrm>
          <a:prstGeom prst="rect">
            <a:avLst/>
          </a:prstGeom>
        </p:spPr>
      </p:pic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54FFD4E6-B8F9-4E64-B530-04AF07E085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979999" y="359999"/>
            <a:ext cx="9492863" cy="396000"/>
          </a:xfrm>
        </p:spPr>
        <p:txBody>
          <a:bodyPr anchor="b" anchorCtr="0">
            <a:normAutofit/>
          </a:bodyPr>
          <a:lstStyle>
            <a:lvl1pPr>
              <a:defRPr sz="1200">
                <a:latin typeface="FlandersArtSans-Medium" panose="00000600000000000000" pitchFamily="2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A212F108-9916-4A3D-A5BF-C3933DB0BEB8}"/>
              </a:ext>
            </a:extLst>
          </p:cNvPr>
          <p:cNvSpPr txBox="1"/>
          <p:nvPr userDrawn="1"/>
        </p:nvSpPr>
        <p:spPr>
          <a:xfrm rot="1620000">
            <a:off x="290309" y="1385441"/>
            <a:ext cx="1106249" cy="720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>
              <a:lnSpc>
                <a:spcPts val="1400"/>
              </a:lnSpc>
            </a:pPr>
            <a:r>
              <a:rPr lang="nl-BE" sz="1300" spc="-20" baseline="0">
                <a:solidFill>
                  <a:srgbClr val="3C3D3C"/>
                </a:solidFill>
                <a:latin typeface="FlandersArtSans-Medium" panose="00000600000000000000" pitchFamily="2" charset="0"/>
              </a:rPr>
              <a:t>Lokaal</a:t>
            </a:r>
          </a:p>
          <a:p>
            <a:pPr algn="l">
              <a:lnSpc>
                <a:spcPts val="1400"/>
              </a:lnSpc>
            </a:pPr>
            <a:r>
              <a:rPr lang="nl-BE" sz="1300" spc="-20" baseline="0">
                <a:solidFill>
                  <a:srgbClr val="3C3D3C"/>
                </a:solidFill>
                <a:latin typeface="FlandersArtSans-Medium" panose="00000600000000000000" pitchFamily="2" charset="0"/>
              </a:rPr>
              <a:t>  bestuur</a:t>
            </a:r>
          </a:p>
          <a:p>
            <a:pPr algn="l">
              <a:lnSpc>
                <a:spcPts val="1400"/>
              </a:lnSpc>
            </a:pPr>
            <a:r>
              <a:rPr lang="nl-BE" sz="1300" spc="-20" baseline="0">
                <a:solidFill>
                  <a:srgbClr val="3C3D3C"/>
                </a:solidFill>
                <a:latin typeface="FlandersArtSans-Medium" panose="00000600000000000000" pitchFamily="2" charset="0"/>
              </a:rPr>
              <a:t>    _____</a:t>
            </a:r>
          </a:p>
        </p:txBody>
      </p:sp>
      <p:cxnSp>
        <p:nvCxnSpPr>
          <p:cNvPr id="12" name="Rechte verbindingslijn 11">
            <a:extLst>
              <a:ext uri="{FF2B5EF4-FFF2-40B4-BE49-F238E27FC236}">
                <a16:creationId xmlns:a16="http://schemas.microsoft.com/office/drawing/2014/main" id="{60874F08-8C9A-433A-82F1-982A2E506BA2}"/>
              </a:ext>
            </a:extLst>
          </p:cNvPr>
          <p:cNvCxnSpPr/>
          <p:nvPr userDrawn="1"/>
        </p:nvCxnSpPr>
        <p:spPr>
          <a:xfrm>
            <a:off x="1979999" y="1620000"/>
            <a:ext cx="900000" cy="0"/>
          </a:xfrm>
          <a:prstGeom prst="line">
            <a:avLst/>
          </a:prstGeom>
          <a:ln w="50800">
            <a:solidFill>
              <a:srgbClr val="FFE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57929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B_domein02_Stedenbele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6BF51D01-E6EA-41EE-97D3-52957D2EC71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0" y="0"/>
            <a:ext cx="1747930" cy="6858000"/>
          </a:xfrm>
          <a:prstGeom prst="rect">
            <a:avLst/>
          </a:prstGeom>
        </p:spPr>
      </p:pic>
      <p:pic>
        <p:nvPicPr>
          <p:cNvPr id="17" name="Graphic 16">
            <a:hlinkClick r:id="" action="ppaction://noaction"/>
            <a:extLst>
              <a:ext uri="{FF2B5EF4-FFF2-40B4-BE49-F238E27FC236}">
                <a16:creationId xmlns:a16="http://schemas.microsoft.com/office/drawing/2014/main" id="{0BB62CBA-6C96-4706-8393-451B4835CE3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8775" y="357188"/>
            <a:ext cx="1008000" cy="415060"/>
          </a:xfrm>
          <a:prstGeom prst="rect">
            <a:avLst/>
          </a:prstGeom>
        </p:spPr>
      </p:pic>
      <p:sp>
        <p:nvSpPr>
          <p:cNvPr id="7" name="Tekstvak 6">
            <a:extLst>
              <a:ext uri="{FF2B5EF4-FFF2-40B4-BE49-F238E27FC236}">
                <a16:creationId xmlns:a16="http://schemas.microsoft.com/office/drawing/2014/main" id="{C50D8981-6D8B-44DB-87A1-9CAAF2BEF0B0}"/>
              </a:ext>
            </a:extLst>
          </p:cNvPr>
          <p:cNvSpPr txBox="1"/>
          <p:nvPr userDrawn="1"/>
        </p:nvSpPr>
        <p:spPr>
          <a:xfrm rot="1620000">
            <a:off x="290309" y="1385441"/>
            <a:ext cx="1106249" cy="720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>
              <a:lnSpc>
                <a:spcPts val="1400"/>
              </a:lnSpc>
            </a:pPr>
            <a:r>
              <a:rPr lang="nl-BE" sz="1300" spc="-20" baseline="0">
                <a:solidFill>
                  <a:srgbClr val="3C3D3C"/>
                </a:solidFill>
                <a:latin typeface="FlandersArtSans-Medium" panose="00000600000000000000" pitchFamily="2" charset="0"/>
              </a:rPr>
              <a:t>Stedenbeleid</a:t>
            </a:r>
          </a:p>
          <a:p>
            <a:pPr algn="l">
              <a:lnSpc>
                <a:spcPts val="1400"/>
              </a:lnSpc>
            </a:pPr>
            <a:r>
              <a:rPr lang="nl-BE" sz="1300" spc="-20" baseline="0">
                <a:solidFill>
                  <a:srgbClr val="3C3D3C"/>
                </a:solidFill>
                <a:latin typeface="FlandersArtSans-Medium" panose="00000600000000000000" pitchFamily="2" charset="0"/>
              </a:rPr>
              <a:t>  _____</a:t>
            </a:r>
          </a:p>
          <a:p>
            <a:pPr algn="l">
              <a:lnSpc>
                <a:spcPts val="1400"/>
              </a:lnSpc>
            </a:pPr>
            <a:endParaRPr lang="nl-BE" sz="1300" spc="-20" baseline="0">
              <a:solidFill>
                <a:srgbClr val="3C3D3C"/>
              </a:solidFill>
              <a:latin typeface="FlandersArtSans-Medium" panose="00000600000000000000" pitchFamily="2" charset="0"/>
            </a:endParaRPr>
          </a:p>
        </p:txBody>
      </p:sp>
      <p:sp>
        <p:nvSpPr>
          <p:cNvPr id="12" name="Tijdelijke aanduiding voor tekst 2">
            <a:extLst>
              <a:ext uri="{FF2B5EF4-FFF2-40B4-BE49-F238E27FC236}">
                <a16:creationId xmlns:a16="http://schemas.microsoft.com/office/drawing/2014/main" id="{18AEAF1A-2E42-499E-8D0B-7E9B0A863E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80000" y="1980000"/>
            <a:ext cx="9496800" cy="4157275"/>
          </a:xfrm>
        </p:spPr>
        <p:txBody>
          <a:bodyPr lIns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03D05FD-FC8E-4103-864A-9FEF3F6A1A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0000" y="357188"/>
            <a:ext cx="9496799" cy="1170000"/>
          </a:xfrm>
        </p:spPr>
        <p:txBody>
          <a:bodyPr anchor="ctr" anchorCtr="0">
            <a:normAutofit/>
          </a:bodyPr>
          <a:lstStyle>
            <a:lvl1pPr>
              <a:defRPr sz="36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5246437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B_domein02_Stedenbeleid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6BF51D01-E6EA-41EE-97D3-52957D2EC71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0" y="0"/>
            <a:ext cx="1747930" cy="6858000"/>
          </a:xfrm>
          <a:prstGeom prst="rect">
            <a:avLst/>
          </a:prstGeom>
        </p:spPr>
      </p:pic>
      <p:pic>
        <p:nvPicPr>
          <p:cNvPr id="17" name="Graphic 16">
            <a:hlinkClick r:id="" action="ppaction://noaction"/>
            <a:extLst>
              <a:ext uri="{FF2B5EF4-FFF2-40B4-BE49-F238E27FC236}">
                <a16:creationId xmlns:a16="http://schemas.microsoft.com/office/drawing/2014/main" id="{0BB62CBA-6C96-4706-8393-451B4835CE3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8775" y="357188"/>
            <a:ext cx="1008000" cy="415060"/>
          </a:xfrm>
          <a:prstGeom prst="rect">
            <a:avLst/>
          </a:prstGeom>
        </p:spPr>
      </p:pic>
      <p:sp>
        <p:nvSpPr>
          <p:cNvPr id="7" name="Tekstvak 6">
            <a:extLst>
              <a:ext uri="{FF2B5EF4-FFF2-40B4-BE49-F238E27FC236}">
                <a16:creationId xmlns:a16="http://schemas.microsoft.com/office/drawing/2014/main" id="{C50D8981-6D8B-44DB-87A1-9CAAF2BEF0B0}"/>
              </a:ext>
            </a:extLst>
          </p:cNvPr>
          <p:cNvSpPr txBox="1"/>
          <p:nvPr userDrawn="1"/>
        </p:nvSpPr>
        <p:spPr>
          <a:xfrm rot="1620000">
            <a:off x="290309" y="1385441"/>
            <a:ext cx="1106249" cy="720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>
              <a:lnSpc>
                <a:spcPts val="1400"/>
              </a:lnSpc>
            </a:pPr>
            <a:r>
              <a:rPr lang="nl-BE" sz="1300" spc="-20" baseline="0">
                <a:solidFill>
                  <a:srgbClr val="3C3D3C"/>
                </a:solidFill>
                <a:latin typeface="FlandersArtSans-Medium" panose="00000600000000000000" pitchFamily="2" charset="0"/>
              </a:rPr>
              <a:t>Stedenbeleid</a:t>
            </a:r>
          </a:p>
          <a:p>
            <a:pPr algn="l">
              <a:lnSpc>
                <a:spcPts val="1400"/>
              </a:lnSpc>
            </a:pPr>
            <a:r>
              <a:rPr lang="nl-BE" sz="1300" spc="-20" baseline="0">
                <a:solidFill>
                  <a:srgbClr val="3C3D3C"/>
                </a:solidFill>
                <a:latin typeface="FlandersArtSans-Medium" panose="00000600000000000000" pitchFamily="2" charset="0"/>
              </a:rPr>
              <a:t>  _____</a:t>
            </a:r>
          </a:p>
          <a:p>
            <a:pPr algn="l">
              <a:lnSpc>
                <a:spcPts val="1400"/>
              </a:lnSpc>
            </a:pPr>
            <a:endParaRPr lang="nl-BE" sz="1300" spc="-20" baseline="0">
              <a:solidFill>
                <a:srgbClr val="3C3D3C"/>
              </a:solidFill>
              <a:latin typeface="FlandersArtSans-Medium" panose="00000600000000000000" pitchFamily="2" charset="0"/>
            </a:endParaRPr>
          </a:p>
        </p:txBody>
      </p:sp>
      <p:sp>
        <p:nvSpPr>
          <p:cNvPr id="12" name="Tijdelijke aanduiding voor tekst 2">
            <a:extLst>
              <a:ext uri="{FF2B5EF4-FFF2-40B4-BE49-F238E27FC236}">
                <a16:creationId xmlns:a16="http://schemas.microsoft.com/office/drawing/2014/main" id="{18AEAF1A-2E42-499E-8D0B-7E9B0A863E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80000" y="1980000"/>
            <a:ext cx="9496800" cy="4157275"/>
          </a:xfrm>
        </p:spPr>
        <p:txBody>
          <a:bodyPr lIns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03D05FD-FC8E-4103-864A-9FEF3F6A1A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0000" y="720000"/>
            <a:ext cx="9492861" cy="720000"/>
          </a:xfrm>
        </p:spPr>
        <p:txBody>
          <a:bodyPr anchor="ctr" anchorCtr="0">
            <a:normAutofit/>
          </a:bodyPr>
          <a:lstStyle>
            <a:lvl1pPr>
              <a:defRPr sz="36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0FEDAA39-EF44-4FD4-887E-0DC282FCB4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979999" y="359999"/>
            <a:ext cx="9492863" cy="396000"/>
          </a:xfrm>
        </p:spPr>
        <p:txBody>
          <a:bodyPr anchor="b" anchorCtr="0">
            <a:normAutofit/>
          </a:bodyPr>
          <a:lstStyle>
            <a:lvl1pPr>
              <a:defRPr sz="1200">
                <a:latin typeface="FlandersArtSans-Medium" panose="00000600000000000000" pitchFamily="2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3019424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-tekst//geel-grij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Rechte verbindingslijn 7">
            <a:extLst>
              <a:ext uri="{FF2B5EF4-FFF2-40B4-BE49-F238E27FC236}">
                <a16:creationId xmlns:a16="http://schemas.microsoft.com/office/drawing/2014/main" id="{80E438E6-1343-4C50-A189-72BCF2674F20}"/>
              </a:ext>
            </a:extLst>
          </p:cNvPr>
          <p:cNvCxnSpPr/>
          <p:nvPr userDrawn="1"/>
        </p:nvCxnSpPr>
        <p:spPr>
          <a:xfrm>
            <a:off x="720725" y="1440000"/>
            <a:ext cx="900000" cy="0"/>
          </a:xfrm>
          <a:prstGeom prst="line">
            <a:avLst/>
          </a:prstGeom>
          <a:ln w="50800">
            <a:solidFill>
              <a:srgbClr val="FFE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phic 9">
            <a:extLst>
              <a:ext uri="{FF2B5EF4-FFF2-40B4-BE49-F238E27FC236}">
                <a16:creationId xmlns:a16="http://schemas.microsoft.com/office/drawing/2014/main" id="{BA751AC2-9D5E-41BC-899A-2B7DB98B448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4010025" y="0"/>
            <a:ext cx="8181975" cy="1743075"/>
          </a:xfrm>
          <a:prstGeom prst="rect">
            <a:avLst/>
          </a:prstGeom>
        </p:spPr>
      </p:pic>
      <p:sp>
        <p:nvSpPr>
          <p:cNvPr id="14" name="Titel 13">
            <a:extLst>
              <a:ext uri="{FF2B5EF4-FFF2-40B4-BE49-F238E27FC236}">
                <a16:creationId xmlns:a16="http://schemas.microsoft.com/office/drawing/2014/main" id="{CFFADA01-1A92-42A5-8352-E3EEC3837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357189"/>
            <a:ext cx="10753200" cy="1080000"/>
          </a:xfrm>
        </p:spPr>
        <p:txBody>
          <a:bodyPr anchor="ctr" anchorCtr="0">
            <a:normAutofit/>
          </a:bodyPr>
          <a:lstStyle>
            <a:lvl1pPr>
              <a:defRPr sz="36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15" name="Tijdelijke aanduiding voor tekst 2">
            <a:extLst>
              <a:ext uri="{FF2B5EF4-FFF2-40B4-BE49-F238E27FC236}">
                <a16:creationId xmlns:a16="http://schemas.microsoft.com/office/drawing/2014/main" id="{6A43CE44-E083-4BCC-B28E-A7F4B39010B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725" y="1799999"/>
            <a:ext cx="10752138" cy="3960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pic>
        <p:nvPicPr>
          <p:cNvPr id="7" name="Graphic 6">
            <a:hlinkClick r:id="" action="ppaction://noaction"/>
            <a:extLst>
              <a:ext uri="{FF2B5EF4-FFF2-40B4-BE49-F238E27FC236}">
                <a16:creationId xmlns:a16="http://schemas.microsoft.com/office/drawing/2014/main" id="{67F35D2E-ECCD-43E4-8A43-3320C8D4BB3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26557" y="5956050"/>
            <a:ext cx="1311431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234224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B_domein03_Integratie&amp;Inburger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214AB5EE-DE88-4638-88A4-D943E8B0800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0" y="0"/>
            <a:ext cx="1747930" cy="6858000"/>
          </a:xfrm>
          <a:prstGeom prst="rect">
            <a:avLst/>
          </a:prstGeom>
        </p:spPr>
      </p:pic>
      <p:pic>
        <p:nvPicPr>
          <p:cNvPr id="11" name="Graphic 10">
            <a:hlinkClick r:id="" action="ppaction://noaction"/>
            <a:extLst>
              <a:ext uri="{FF2B5EF4-FFF2-40B4-BE49-F238E27FC236}">
                <a16:creationId xmlns:a16="http://schemas.microsoft.com/office/drawing/2014/main" id="{25F8E72D-E340-4295-A88B-28BC4191DD3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8775" y="357188"/>
            <a:ext cx="1008000" cy="415060"/>
          </a:xfrm>
          <a:prstGeom prst="rect">
            <a:avLst/>
          </a:prstGeom>
        </p:spPr>
      </p:pic>
      <p:sp>
        <p:nvSpPr>
          <p:cNvPr id="7" name="Titel 10">
            <a:extLst>
              <a:ext uri="{FF2B5EF4-FFF2-40B4-BE49-F238E27FC236}">
                <a16:creationId xmlns:a16="http://schemas.microsoft.com/office/drawing/2014/main" id="{9B9298E4-494E-4A10-86C9-8E4FD65473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0001" y="360000"/>
            <a:ext cx="9496800" cy="1170000"/>
          </a:xfrm>
        </p:spPr>
        <p:txBody>
          <a:bodyPr lIns="0" anchor="ctr" anchorCtr="0">
            <a:normAutofit/>
          </a:bodyPr>
          <a:lstStyle>
            <a:lvl1pPr>
              <a:defRPr sz="36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8" name="Tijdelijke aanduiding voor tekst 2">
            <a:extLst>
              <a:ext uri="{FF2B5EF4-FFF2-40B4-BE49-F238E27FC236}">
                <a16:creationId xmlns:a16="http://schemas.microsoft.com/office/drawing/2014/main" id="{9F0005E4-1889-48FE-AF4E-C4E694C712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79998" y="1980000"/>
            <a:ext cx="9496801" cy="4157275"/>
          </a:xfrm>
        </p:spPr>
        <p:txBody>
          <a:bodyPr lIns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165008DE-FE0F-4395-BD74-D440FAF6CA14}"/>
              </a:ext>
            </a:extLst>
          </p:cNvPr>
          <p:cNvSpPr txBox="1"/>
          <p:nvPr userDrawn="1"/>
        </p:nvSpPr>
        <p:spPr>
          <a:xfrm rot="1620000">
            <a:off x="290309" y="1385441"/>
            <a:ext cx="1106249" cy="720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>
              <a:lnSpc>
                <a:spcPts val="1400"/>
              </a:lnSpc>
            </a:pPr>
            <a:r>
              <a:rPr lang="nl-BE" sz="1300" spc="-20" baseline="0">
                <a:solidFill>
                  <a:srgbClr val="3C3D3C"/>
                </a:solidFill>
                <a:latin typeface="FlandersArtSans-Medium" panose="00000600000000000000" pitchFamily="2" charset="0"/>
              </a:rPr>
              <a:t>Integratie en</a:t>
            </a:r>
          </a:p>
          <a:p>
            <a:pPr algn="l">
              <a:lnSpc>
                <a:spcPts val="1400"/>
              </a:lnSpc>
            </a:pPr>
            <a:r>
              <a:rPr lang="nl-BE" sz="1300" spc="-20" baseline="0">
                <a:solidFill>
                  <a:srgbClr val="3C3D3C"/>
                </a:solidFill>
                <a:latin typeface="FlandersArtSans-Medium" panose="00000600000000000000" pitchFamily="2" charset="0"/>
              </a:rPr>
              <a:t>  Inburgering</a:t>
            </a:r>
          </a:p>
          <a:p>
            <a:pPr algn="l">
              <a:lnSpc>
                <a:spcPts val="1400"/>
              </a:lnSpc>
            </a:pPr>
            <a:r>
              <a:rPr lang="nl-BE" sz="1300" spc="-20" baseline="0">
                <a:solidFill>
                  <a:srgbClr val="3C3D3C"/>
                </a:solidFill>
                <a:latin typeface="FlandersArtSans-Medium" panose="00000600000000000000" pitchFamily="2" charset="0"/>
              </a:rPr>
              <a:t>    _____</a:t>
            </a:r>
          </a:p>
        </p:txBody>
      </p:sp>
    </p:spTree>
    <p:extLst>
      <p:ext uri="{BB962C8B-B14F-4D97-AF65-F5344CB8AC3E}">
        <p14:creationId xmlns:p14="http://schemas.microsoft.com/office/powerpoint/2010/main" val="86412958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B_domein03_Integratie&amp;Inburgering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214AB5EE-DE88-4638-88A4-D943E8B0800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0" y="0"/>
            <a:ext cx="1747930" cy="6858000"/>
          </a:xfrm>
          <a:prstGeom prst="rect">
            <a:avLst/>
          </a:prstGeom>
        </p:spPr>
      </p:pic>
      <p:pic>
        <p:nvPicPr>
          <p:cNvPr id="11" name="Graphic 10">
            <a:hlinkClick r:id="" action="ppaction://noaction"/>
            <a:extLst>
              <a:ext uri="{FF2B5EF4-FFF2-40B4-BE49-F238E27FC236}">
                <a16:creationId xmlns:a16="http://schemas.microsoft.com/office/drawing/2014/main" id="{25F8E72D-E340-4295-A88B-28BC4191DD3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8775" y="357188"/>
            <a:ext cx="1008000" cy="415060"/>
          </a:xfrm>
          <a:prstGeom prst="rect">
            <a:avLst/>
          </a:prstGeom>
        </p:spPr>
      </p:pic>
      <p:sp>
        <p:nvSpPr>
          <p:cNvPr id="7" name="Titel 10">
            <a:extLst>
              <a:ext uri="{FF2B5EF4-FFF2-40B4-BE49-F238E27FC236}">
                <a16:creationId xmlns:a16="http://schemas.microsoft.com/office/drawing/2014/main" id="{9B9298E4-494E-4A10-86C9-8E4FD65473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0001" y="720000"/>
            <a:ext cx="9496800" cy="720000"/>
          </a:xfrm>
        </p:spPr>
        <p:txBody>
          <a:bodyPr lIns="0" anchor="ctr" anchorCtr="0">
            <a:normAutofit/>
          </a:bodyPr>
          <a:lstStyle>
            <a:lvl1pPr>
              <a:defRPr sz="36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8" name="Tijdelijke aanduiding voor tekst 2">
            <a:extLst>
              <a:ext uri="{FF2B5EF4-FFF2-40B4-BE49-F238E27FC236}">
                <a16:creationId xmlns:a16="http://schemas.microsoft.com/office/drawing/2014/main" id="{9F0005E4-1889-48FE-AF4E-C4E694C712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79998" y="1980000"/>
            <a:ext cx="9496801" cy="4157275"/>
          </a:xfrm>
        </p:spPr>
        <p:txBody>
          <a:bodyPr lIns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9A7F9212-241C-4A36-ADFD-E787781460D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979999" y="359999"/>
            <a:ext cx="9492863" cy="396000"/>
          </a:xfrm>
        </p:spPr>
        <p:txBody>
          <a:bodyPr anchor="b" anchorCtr="0">
            <a:normAutofit/>
          </a:bodyPr>
          <a:lstStyle>
            <a:lvl1pPr>
              <a:defRPr sz="1200">
                <a:latin typeface="FlandersArtSans-Medium" panose="00000600000000000000" pitchFamily="2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3" name="Tekstvak 12">
            <a:extLst>
              <a:ext uri="{FF2B5EF4-FFF2-40B4-BE49-F238E27FC236}">
                <a16:creationId xmlns:a16="http://schemas.microsoft.com/office/drawing/2014/main" id="{3C4F82A1-8479-45CB-85D0-B418A7C09569}"/>
              </a:ext>
            </a:extLst>
          </p:cNvPr>
          <p:cNvSpPr txBox="1"/>
          <p:nvPr userDrawn="1"/>
        </p:nvSpPr>
        <p:spPr>
          <a:xfrm rot="1620000">
            <a:off x="290309" y="1385441"/>
            <a:ext cx="1106249" cy="720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>
              <a:lnSpc>
                <a:spcPts val="1400"/>
              </a:lnSpc>
            </a:pPr>
            <a:r>
              <a:rPr lang="nl-BE" sz="1300" spc="-20" baseline="0">
                <a:solidFill>
                  <a:srgbClr val="3C3D3C"/>
                </a:solidFill>
                <a:latin typeface="FlandersArtSans-Medium" panose="00000600000000000000" pitchFamily="2" charset="0"/>
              </a:rPr>
              <a:t>Integratie en</a:t>
            </a:r>
          </a:p>
          <a:p>
            <a:pPr algn="l">
              <a:lnSpc>
                <a:spcPts val="1400"/>
              </a:lnSpc>
            </a:pPr>
            <a:r>
              <a:rPr lang="nl-BE" sz="1300" spc="-20" baseline="0">
                <a:solidFill>
                  <a:srgbClr val="3C3D3C"/>
                </a:solidFill>
                <a:latin typeface="FlandersArtSans-Medium" panose="00000600000000000000" pitchFamily="2" charset="0"/>
              </a:rPr>
              <a:t>  Inburgering</a:t>
            </a:r>
          </a:p>
          <a:p>
            <a:pPr algn="l">
              <a:lnSpc>
                <a:spcPts val="1400"/>
              </a:lnSpc>
            </a:pPr>
            <a:r>
              <a:rPr lang="nl-BE" sz="1300" spc="-20" baseline="0">
                <a:solidFill>
                  <a:srgbClr val="3C3D3C"/>
                </a:solidFill>
                <a:latin typeface="FlandersArtSans-Medium" panose="00000600000000000000" pitchFamily="2" charset="0"/>
              </a:rPr>
              <a:t>    _____</a:t>
            </a:r>
          </a:p>
        </p:txBody>
      </p:sp>
    </p:spTree>
    <p:extLst>
      <p:ext uri="{BB962C8B-B14F-4D97-AF65-F5344CB8AC3E}">
        <p14:creationId xmlns:p14="http://schemas.microsoft.com/office/powerpoint/2010/main" val="20082280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B_domein04_GelijkeKans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8ABDD7CA-39B0-44A9-94A3-D631D2F401E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0" y="0"/>
            <a:ext cx="1747930" cy="6858000"/>
          </a:xfrm>
          <a:prstGeom prst="rect">
            <a:avLst/>
          </a:prstGeom>
        </p:spPr>
      </p:pic>
      <p:pic>
        <p:nvPicPr>
          <p:cNvPr id="11" name="Graphic 10">
            <a:hlinkClick r:id="" action="ppaction://noaction"/>
            <a:extLst>
              <a:ext uri="{FF2B5EF4-FFF2-40B4-BE49-F238E27FC236}">
                <a16:creationId xmlns:a16="http://schemas.microsoft.com/office/drawing/2014/main" id="{25F8E72D-E340-4295-A88B-28BC4191DD3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8775" y="357188"/>
            <a:ext cx="1008000" cy="415060"/>
          </a:xfrm>
          <a:prstGeom prst="rect">
            <a:avLst/>
          </a:prstGeom>
        </p:spPr>
      </p:pic>
      <p:sp>
        <p:nvSpPr>
          <p:cNvPr id="7" name="Titel 10">
            <a:extLst>
              <a:ext uri="{FF2B5EF4-FFF2-40B4-BE49-F238E27FC236}">
                <a16:creationId xmlns:a16="http://schemas.microsoft.com/office/drawing/2014/main" id="{7FBFD702-07CD-4BCA-A7A7-D74BA5947C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0001" y="360000"/>
            <a:ext cx="9496800" cy="1170000"/>
          </a:xfrm>
        </p:spPr>
        <p:txBody>
          <a:bodyPr lIns="0" anchor="ctr" anchorCtr="0">
            <a:normAutofit/>
          </a:bodyPr>
          <a:lstStyle>
            <a:lvl1pPr>
              <a:defRPr sz="36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8" name="Tijdelijke aanduiding voor tekst 2">
            <a:extLst>
              <a:ext uri="{FF2B5EF4-FFF2-40B4-BE49-F238E27FC236}">
                <a16:creationId xmlns:a16="http://schemas.microsoft.com/office/drawing/2014/main" id="{832E5F89-08BE-48B9-9930-94E96B4E7F2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79999" y="1980000"/>
            <a:ext cx="9496800" cy="4157275"/>
          </a:xfrm>
        </p:spPr>
        <p:txBody>
          <a:bodyPr lIns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3CE5FD44-D2C9-475E-A49B-3491647050D3}"/>
              </a:ext>
            </a:extLst>
          </p:cNvPr>
          <p:cNvSpPr txBox="1"/>
          <p:nvPr userDrawn="1"/>
        </p:nvSpPr>
        <p:spPr>
          <a:xfrm rot="1620000">
            <a:off x="290309" y="1385441"/>
            <a:ext cx="1106249" cy="720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>
              <a:lnSpc>
                <a:spcPts val="1400"/>
              </a:lnSpc>
            </a:pPr>
            <a:r>
              <a:rPr lang="nl-BE" sz="1300" spc="-20" baseline="0">
                <a:solidFill>
                  <a:srgbClr val="3C3D3C"/>
                </a:solidFill>
                <a:latin typeface="FlandersArtSans-Medium" panose="00000600000000000000" pitchFamily="2" charset="0"/>
              </a:rPr>
              <a:t>Gelijke</a:t>
            </a:r>
          </a:p>
          <a:p>
            <a:pPr algn="l">
              <a:lnSpc>
                <a:spcPts val="1400"/>
              </a:lnSpc>
            </a:pPr>
            <a:r>
              <a:rPr lang="nl-BE" sz="1300" spc="-20" baseline="0">
                <a:solidFill>
                  <a:srgbClr val="3C3D3C"/>
                </a:solidFill>
                <a:latin typeface="FlandersArtSans-Medium" panose="00000600000000000000" pitchFamily="2" charset="0"/>
              </a:rPr>
              <a:t>  Kansen</a:t>
            </a:r>
          </a:p>
          <a:p>
            <a:pPr algn="l">
              <a:lnSpc>
                <a:spcPts val="1400"/>
              </a:lnSpc>
            </a:pPr>
            <a:r>
              <a:rPr lang="nl-BE" sz="1300" spc="-20" baseline="0">
                <a:solidFill>
                  <a:srgbClr val="3C3D3C"/>
                </a:solidFill>
                <a:latin typeface="FlandersArtSans-Medium" panose="00000600000000000000" pitchFamily="2" charset="0"/>
              </a:rPr>
              <a:t>    _____</a:t>
            </a:r>
          </a:p>
        </p:txBody>
      </p:sp>
    </p:spTree>
    <p:extLst>
      <p:ext uri="{BB962C8B-B14F-4D97-AF65-F5344CB8AC3E}">
        <p14:creationId xmlns:p14="http://schemas.microsoft.com/office/powerpoint/2010/main" val="37617783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B_domein05_Bruss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FBE8CA50-98EC-47C0-A25C-DBA5ADCAD03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0" y="0"/>
            <a:ext cx="1747930" cy="6858000"/>
          </a:xfrm>
          <a:prstGeom prst="rect">
            <a:avLst/>
          </a:prstGeom>
        </p:spPr>
      </p:pic>
      <p:pic>
        <p:nvPicPr>
          <p:cNvPr id="11" name="Graphic 10">
            <a:hlinkClick r:id="" action="ppaction://noaction"/>
            <a:extLst>
              <a:ext uri="{FF2B5EF4-FFF2-40B4-BE49-F238E27FC236}">
                <a16:creationId xmlns:a16="http://schemas.microsoft.com/office/drawing/2014/main" id="{25F8E72D-E340-4295-A88B-28BC4191DD3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8775" y="357188"/>
            <a:ext cx="1008000" cy="415060"/>
          </a:xfrm>
          <a:prstGeom prst="rect">
            <a:avLst/>
          </a:prstGeom>
        </p:spPr>
      </p:pic>
      <p:sp>
        <p:nvSpPr>
          <p:cNvPr id="7" name="Titel 10">
            <a:extLst>
              <a:ext uri="{FF2B5EF4-FFF2-40B4-BE49-F238E27FC236}">
                <a16:creationId xmlns:a16="http://schemas.microsoft.com/office/drawing/2014/main" id="{FAAE1E68-A30B-4970-9F73-6D1BB7D341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0001" y="360000"/>
            <a:ext cx="9496800" cy="1170000"/>
          </a:xfrm>
        </p:spPr>
        <p:txBody>
          <a:bodyPr lIns="0" anchor="ctr" anchorCtr="0">
            <a:normAutofit/>
          </a:bodyPr>
          <a:lstStyle>
            <a:lvl1pPr>
              <a:defRPr sz="36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8" name="Tijdelijke aanduiding voor tekst 2">
            <a:extLst>
              <a:ext uri="{FF2B5EF4-FFF2-40B4-BE49-F238E27FC236}">
                <a16:creationId xmlns:a16="http://schemas.microsoft.com/office/drawing/2014/main" id="{2DE0EA60-4E08-425A-9B66-5102B89F02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79998" y="1980000"/>
            <a:ext cx="9496801" cy="4157275"/>
          </a:xfrm>
        </p:spPr>
        <p:txBody>
          <a:bodyPr lIns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9663ABE4-4CC8-46AD-87CA-23042F1C0713}"/>
              </a:ext>
            </a:extLst>
          </p:cNvPr>
          <p:cNvSpPr txBox="1"/>
          <p:nvPr userDrawn="1"/>
        </p:nvSpPr>
        <p:spPr>
          <a:xfrm rot="1620000">
            <a:off x="290309" y="1385441"/>
            <a:ext cx="1106249" cy="720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>
              <a:lnSpc>
                <a:spcPts val="1400"/>
              </a:lnSpc>
            </a:pPr>
            <a:r>
              <a:rPr lang="nl-BE" sz="1300" spc="-20" baseline="0">
                <a:solidFill>
                  <a:srgbClr val="3C3D3C"/>
                </a:solidFill>
                <a:latin typeface="FlandersArtSans-Medium" panose="00000600000000000000" pitchFamily="2" charset="0"/>
              </a:rPr>
              <a:t>Brussel</a:t>
            </a:r>
          </a:p>
          <a:p>
            <a:pPr algn="l">
              <a:lnSpc>
                <a:spcPts val="1400"/>
              </a:lnSpc>
            </a:pPr>
            <a:r>
              <a:rPr lang="nl-BE" sz="1300" spc="-20" baseline="0">
                <a:solidFill>
                  <a:srgbClr val="3C3D3C"/>
                </a:solidFill>
                <a:latin typeface="FlandersArtSans-Medium" panose="00000600000000000000" pitchFamily="2" charset="0"/>
              </a:rPr>
              <a:t>  _____</a:t>
            </a:r>
          </a:p>
          <a:p>
            <a:pPr algn="l">
              <a:lnSpc>
                <a:spcPts val="1400"/>
              </a:lnSpc>
            </a:pPr>
            <a:endParaRPr lang="nl-BE" sz="1300" spc="-20" baseline="0">
              <a:solidFill>
                <a:srgbClr val="3C3D3C"/>
              </a:solidFill>
              <a:latin typeface="FlandersArtSans-Medium" panose="000006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013856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B_domein06_Vlaamse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86F26BD0-7FB3-40F9-9F84-65D91BEFF5F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0" y="0"/>
            <a:ext cx="1747930" cy="6858000"/>
          </a:xfrm>
          <a:prstGeom prst="rect">
            <a:avLst/>
          </a:prstGeom>
        </p:spPr>
      </p:pic>
      <p:pic>
        <p:nvPicPr>
          <p:cNvPr id="11" name="Graphic 10">
            <a:hlinkClick r:id="" action="ppaction://noaction"/>
            <a:extLst>
              <a:ext uri="{FF2B5EF4-FFF2-40B4-BE49-F238E27FC236}">
                <a16:creationId xmlns:a16="http://schemas.microsoft.com/office/drawing/2014/main" id="{25F8E72D-E340-4295-A88B-28BC4191DD3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8775" y="357188"/>
            <a:ext cx="1008000" cy="415060"/>
          </a:xfrm>
          <a:prstGeom prst="rect">
            <a:avLst/>
          </a:prstGeom>
        </p:spPr>
      </p:pic>
      <p:sp>
        <p:nvSpPr>
          <p:cNvPr id="8" name="Titel 10">
            <a:extLst>
              <a:ext uri="{FF2B5EF4-FFF2-40B4-BE49-F238E27FC236}">
                <a16:creationId xmlns:a16="http://schemas.microsoft.com/office/drawing/2014/main" id="{06422C24-996D-416C-828D-90679E34C3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0001" y="360000"/>
            <a:ext cx="9496800" cy="1170000"/>
          </a:xfrm>
        </p:spPr>
        <p:txBody>
          <a:bodyPr lIns="0" anchor="ctr" anchorCtr="0">
            <a:normAutofit/>
          </a:bodyPr>
          <a:lstStyle>
            <a:lvl1pPr>
              <a:defRPr sz="36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9" name="Tijdelijke aanduiding voor tekst 2">
            <a:extLst>
              <a:ext uri="{FF2B5EF4-FFF2-40B4-BE49-F238E27FC236}">
                <a16:creationId xmlns:a16="http://schemas.microsoft.com/office/drawing/2014/main" id="{88CD8395-E938-4A98-88F2-81AD2C3E16C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80000" y="1980000"/>
            <a:ext cx="9496800" cy="4157275"/>
          </a:xfrm>
        </p:spPr>
        <p:txBody>
          <a:bodyPr lIns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12" name="Tekstvak 11">
            <a:extLst>
              <a:ext uri="{FF2B5EF4-FFF2-40B4-BE49-F238E27FC236}">
                <a16:creationId xmlns:a16="http://schemas.microsoft.com/office/drawing/2014/main" id="{6962C067-89ED-4179-8E12-A0CAF61D12DF}"/>
              </a:ext>
            </a:extLst>
          </p:cNvPr>
          <p:cNvSpPr txBox="1"/>
          <p:nvPr userDrawn="1"/>
        </p:nvSpPr>
        <p:spPr>
          <a:xfrm rot="1620000">
            <a:off x="290309" y="1385441"/>
            <a:ext cx="1106249" cy="720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>
              <a:lnSpc>
                <a:spcPts val="1400"/>
              </a:lnSpc>
            </a:pPr>
            <a:r>
              <a:rPr lang="nl-BE" sz="1300" spc="-20" baseline="0">
                <a:solidFill>
                  <a:srgbClr val="3C3D3C"/>
                </a:solidFill>
                <a:latin typeface="FlandersArtSans-Medium" panose="00000600000000000000" pitchFamily="2" charset="0"/>
              </a:rPr>
              <a:t>Vlaamse</a:t>
            </a:r>
          </a:p>
          <a:p>
            <a:pPr algn="l">
              <a:lnSpc>
                <a:spcPts val="1400"/>
              </a:lnSpc>
            </a:pPr>
            <a:r>
              <a:rPr lang="nl-BE" sz="1300" spc="-20" baseline="0">
                <a:solidFill>
                  <a:srgbClr val="3C3D3C"/>
                </a:solidFill>
                <a:latin typeface="FlandersArtSans-Medium" panose="00000600000000000000" pitchFamily="2" charset="0"/>
              </a:rPr>
              <a:t>  Rand</a:t>
            </a:r>
          </a:p>
          <a:p>
            <a:pPr algn="l">
              <a:lnSpc>
                <a:spcPts val="1400"/>
              </a:lnSpc>
            </a:pPr>
            <a:r>
              <a:rPr lang="nl-BE" sz="1300" spc="-20" baseline="0">
                <a:solidFill>
                  <a:srgbClr val="3C3D3C"/>
                </a:solidFill>
                <a:latin typeface="FlandersArtSans-Medium" panose="00000600000000000000" pitchFamily="2" charset="0"/>
              </a:rPr>
              <a:t>    _____</a:t>
            </a:r>
          </a:p>
        </p:txBody>
      </p:sp>
    </p:spTree>
    <p:extLst>
      <p:ext uri="{BB962C8B-B14F-4D97-AF65-F5344CB8AC3E}">
        <p14:creationId xmlns:p14="http://schemas.microsoft.com/office/powerpoint/2010/main" val="95453930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-titel-tekst//geel-grij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Rechte verbindingslijn 7">
            <a:extLst>
              <a:ext uri="{FF2B5EF4-FFF2-40B4-BE49-F238E27FC236}">
                <a16:creationId xmlns:a16="http://schemas.microsoft.com/office/drawing/2014/main" id="{80E438E6-1343-4C50-A189-72BCF2674F20}"/>
              </a:ext>
            </a:extLst>
          </p:cNvPr>
          <p:cNvCxnSpPr/>
          <p:nvPr userDrawn="1"/>
        </p:nvCxnSpPr>
        <p:spPr>
          <a:xfrm>
            <a:off x="720725" y="1620000"/>
            <a:ext cx="900000" cy="0"/>
          </a:xfrm>
          <a:prstGeom prst="line">
            <a:avLst/>
          </a:prstGeom>
          <a:ln w="50800">
            <a:solidFill>
              <a:srgbClr val="FFE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phic 9">
            <a:extLst>
              <a:ext uri="{FF2B5EF4-FFF2-40B4-BE49-F238E27FC236}">
                <a16:creationId xmlns:a16="http://schemas.microsoft.com/office/drawing/2014/main" id="{BA751AC2-9D5E-41BC-899A-2B7DB98B448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4010025" y="0"/>
            <a:ext cx="8181975" cy="1743075"/>
          </a:xfrm>
          <a:prstGeom prst="rect">
            <a:avLst/>
          </a:prstGeom>
        </p:spPr>
      </p:pic>
      <p:sp>
        <p:nvSpPr>
          <p:cNvPr id="14" name="Titel 13">
            <a:extLst>
              <a:ext uri="{FF2B5EF4-FFF2-40B4-BE49-F238E27FC236}">
                <a16:creationId xmlns:a16="http://schemas.microsoft.com/office/drawing/2014/main" id="{CFFADA01-1A92-42A5-8352-E3EEC3837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720367"/>
            <a:ext cx="10753200" cy="720000"/>
          </a:xfrm>
        </p:spPr>
        <p:txBody>
          <a:bodyPr anchor="ctr" anchorCtr="0">
            <a:normAutofit/>
          </a:bodyPr>
          <a:lstStyle>
            <a:lvl1pPr>
              <a:defRPr sz="36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15" name="Tijdelijke aanduiding voor tekst 2">
            <a:extLst>
              <a:ext uri="{FF2B5EF4-FFF2-40B4-BE49-F238E27FC236}">
                <a16:creationId xmlns:a16="http://schemas.microsoft.com/office/drawing/2014/main" id="{6A43CE44-E083-4BCC-B28E-A7F4B39010B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725" y="1799999"/>
            <a:ext cx="10752138" cy="3960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2A9372A9-156F-4FBA-811A-D6FE5EEE1FD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725" y="359999"/>
            <a:ext cx="9492863" cy="396000"/>
          </a:xfrm>
        </p:spPr>
        <p:txBody>
          <a:bodyPr anchor="b" anchorCtr="0">
            <a:normAutofit/>
          </a:bodyPr>
          <a:lstStyle>
            <a:lvl1pPr>
              <a:defRPr sz="1200">
                <a:latin typeface="FlandersArtSans-Medium" panose="00000600000000000000" pitchFamily="2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pic>
        <p:nvPicPr>
          <p:cNvPr id="17" name="Graphic 16">
            <a:hlinkClick r:id="" action="ppaction://noaction"/>
            <a:extLst>
              <a:ext uri="{FF2B5EF4-FFF2-40B4-BE49-F238E27FC236}">
                <a16:creationId xmlns:a16="http://schemas.microsoft.com/office/drawing/2014/main" id="{F041C219-1068-49A4-BAF5-5F6D39B5A4B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26557" y="5956050"/>
            <a:ext cx="1311431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60047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-titel-tekst//geel-grijs//GEEN LIJ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BA751AC2-9D5E-41BC-899A-2B7DB98B448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4010025" y="0"/>
            <a:ext cx="8181975" cy="1743075"/>
          </a:xfrm>
          <a:prstGeom prst="rect">
            <a:avLst/>
          </a:prstGeom>
        </p:spPr>
      </p:pic>
      <p:sp>
        <p:nvSpPr>
          <p:cNvPr id="14" name="Titel 13">
            <a:extLst>
              <a:ext uri="{FF2B5EF4-FFF2-40B4-BE49-F238E27FC236}">
                <a16:creationId xmlns:a16="http://schemas.microsoft.com/office/drawing/2014/main" id="{CFFADA01-1A92-42A5-8352-E3EEC3837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720367"/>
            <a:ext cx="10753200" cy="720000"/>
          </a:xfrm>
        </p:spPr>
        <p:txBody>
          <a:bodyPr anchor="ctr" anchorCtr="0">
            <a:normAutofit/>
          </a:bodyPr>
          <a:lstStyle>
            <a:lvl1pPr>
              <a:defRPr sz="36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15" name="Tijdelijke aanduiding voor tekst 2">
            <a:extLst>
              <a:ext uri="{FF2B5EF4-FFF2-40B4-BE49-F238E27FC236}">
                <a16:creationId xmlns:a16="http://schemas.microsoft.com/office/drawing/2014/main" id="{6A43CE44-E083-4BCC-B28E-A7F4B39010B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725" y="1799999"/>
            <a:ext cx="10752138" cy="3960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11" name="Tijdelijke aanduiding voor tekst 6">
            <a:extLst>
              <a:ext uri="{FF2B5EF4-FFF2-40B4-BE49-F238E27FC236}">
                <a16:creationId xmlns:a16="http://schemas.microsoft.com/office/drawing/2014/main" id="{87D5025A-001D-40C6-8E94-1911C0B720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725" y="359999"/>
            <a:ext cx="9492863" cy="396000"/>
          </a:xfrm>
        </p:spPr>
        <p:txBody>
          <a:bodyPr anchor="b" anchorCtr="0">
            <a:normAutofit/>
          </a:bodyPr>
          <a:lstStyle>
            <a:lvl1pPr>
              <a:defRPr sz="1200">
                <a:latin typeface="FlandersArtSans-Medium" panose="00000600000000000000" pitchFamily="2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pic>
        <p:nvPicPr>
          <p:cNvPr id="8" name="Graphic 7">
            <a:hlinkClick r:id="" action="ppaction://noaction"/>
            <a:extLst>
              <a:ext uri="{FF2B5EF4-FFF2-40B4-BE49-F238E27FC236}">
                <a16:creationId xmlns:a16="http://schemas.microsoft.com/office/drawing/2014/main" id="{74398C68-CFE1-4537-A5CD-6A225690C47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26557" y="5956050"/>
            <a:ext cx="1311431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025901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-titel-tekst//ge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65C809DF-DE53-4F87-BA6D-E6C07F856F9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725" y="1799999"/>
            <a:ext cx="10752138" cy="3960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32F63AF-17D1-4117-AD09-4BB236E7B21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5419725" y="0"/>
            <a:ext cx="6772275" cy="1438275"/>
          </a:xfrm>
          <a:prstGeom prst="rect">
            <a:avLst/>
          </a:prstGeom>
        </p:spPr>
      </p:pic>
      <p:cxnSp>
        <p:nvCxnSpPr>
          <p:cNvPr id="13" name="Rechte verbindingslijn 12">
            <a:extLst>
              <a:ext uri="{FF2B5EF4-FFF2-40B4-BE49-F238E27FC236}">
                <a16:creationId xmlns:a16="http://schemas.microsoft.com/office/drawing/2014/main" id="{D27E50D4-A8DB-4029-9EAD-2DF15AB10517}"/>
              </a:ext>
            </a:extLst>
          </p:cNvPr>
          <p:cNvCxnSpPr/>
          <p:nvPr userDrawn="1"/>
        </p:nvCxnSpPr>
        <p:spPr>
          <a:xfrm>
            <a:off x="720725" y="1620000"/>
            <a:ext cx="900000" cy="0"/>
          </a:xfrm>
          <a:prstGeom prst="line">
            <a:avLst/>
          </a:prstGeom>
          <a:ln w="50800">
            <a:solidFill>
              <a:srgbClr val="FFE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el 13">
            <a:extLst>
              <a:ext uri="{FF2B5EF4-FFF2-40B4-BE49-F238E27FC236}">
                <a16:creationId xmlns:a16="http://schemas.microsoft.com/office/drawing/2014/main" id="{F265506E-0B97-4EC8-A558-3BC473CC55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720367"/>
            <a:ext cx="10753200" cy="720000"/>
          </a:xfrm>
        </p:spPr>
        <p:txBody>
          <a:bodyPr anchor="ctr" anchorCtr="0">
            <a:normAutofit/>
          </a:bodyPr>
          <a:lstStyle>
            <a:lvl1pPr>
              <a:defRPr sz="36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17" name="Tijdelijke aanduiding voor tekst 6">
            <a:extLst>
              <a:ext uri="{FF2B5EF4-FFF2-40B4-BE49-F238E27FC236}">
                <a16:creationId xmlns:a16="http://schemas.microsoft.com/office/drawing/2014/main" id="{D7FF0BFE-D900-444B-AAD5-6C3D3CD492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725" y="359999"/>
            <a:ext cx="9492863" cy="396000"/>
          </a:xfrm>
        </p:spPr>
        <p:txBody>
          <a:bodyPr anchor="b" anchorCtr="0">
            <a:normAutofit/>
          </a:bodyPr>
          <a:lstStyle>
            <a:lvl1pPr>
              <a:defRPr sz="1200">
                <a:latin typeface="FlandersArtSans-Medium" panose="00000600000000000000" pitchFamily="2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pic>
        <p:nvPicPr>
          <p:cNvPr id="8" name="Graphic 7">
            <a:hlinkClick r:id="" action="ppaction://noaction"/>
            <a:extLst>
              <a:ext uri="{FF2B5EF4-FFF2-40B4-BE49-F238E27FC236}">
                <a16:creationId xmlns:a16="http://schemas.microsoft.com/office/drawing/2014/main" id="{49232715-6938-48D0-A71D-736653A9DAA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26557" y="5956050"/>
            <a:ext cx="1311431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21742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-titel-tekst//geel//GEEN LIJ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65C809DF-DE53-4F87-BA6D-E6C07F856F9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725" y="1799999"/>
            <a:ext cx="10752138" cy="3960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32F63AF-17D1-4117-AD09-4BB236E7B21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5419725" y="0"/>
            <a:ext cx="6772275" cy="1438275"/>
          </a:xfrm>
          <a:prstGeom prst="rect">
            <a:avLst/>
          </a:prstGeom>
        </p:spPr>
      </p:pic>
      <p:sp>
        <p:nvSpPr>
          <p:cNvPr id="16" name="Titel 13">
            <a:extLst>
              <a:ext uri="{FF2B5EF4-FFF2-40B4-BE49-F238E27FC236}">
                <a16:creationId xmlns:a16="http://schemas.microsoft.com/office/drawing/2014/main" id="{F265506E-0B97-4EC8-A558-3BC473CC55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720367"/>
            <a:ext cx="10753200" cy="720000"/>
          </a:xfrm>
        </p:spPr>
        <p:txBody>
          <a:bodyPr anchor="ctr" anchorCtr="0">
            <a:normAutofit/>
          </a:bodyPr>
          <a:lstStyle>
            <a:lvl1pPr>
              <a:defRPr sz="36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8" name="Tijdelijke aanduiding voor tekst 6">
            <a:extLst>
              <a:ext uri="{FF2B5EF4-FFF2-40B4-BE49-F238E27FC236}">
                <a16:creationId xmlns:a16="http://schemas.microsoft.com/office/drawing/2014/main" id="{3D95BE7C-AC69-47D3-9B86-BA266CB60B1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725" y="359999"/>
            <a:ext cx="9492863" cy="396000"/>
          </a:xfrm>
        </p:spPr>
        <p:txBody>
          <a:bodyPr anchor="b" anchorCtr="0">
            <a:normAutofit/>
          </a:bodyPr>
          <a:lstStyle>
            <a:lvl1pPr>
              <a:defRPr sz="1200">
                <a:latin typeface="FlandersArtSans-Medium" panose="00000600000000000000" pitchFamily="2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pic>
        <p:nvPicPr>
          <p:cNvPr id="7" name="Graphic 6">
            <a:hlinkClick r:id="" action="ppaction://noaction"/>
            <a:extLst>
              <a:ext uri="{FF2B5EF4-FFF2-40B4-BE49-F238E27FC236}">
                <a16:creationId xmlns:a16="http://schemas.microsoft.com/office/drawing/2014/main" id="{C93E805D-E601-4C12-8F2A-3FFFD1E59BB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26557" y="5956050"/>
            <a:ext cx="1311431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557158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-tekst//ge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65C809DF-DE53-4F87-BA6D-E6C07F856F9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725" y="1799999"/>
            <a:ext cx="10752138" cy="3960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32F63AF-17D1-4117-AD09-4BB236E7B21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5419725" y="0"/>
            <a:ext cx="6772275" cy="1438275"/>
          </a:xfrm>
          <a:prstGeom prst="rect">
            <a:avLst/>
          </a:prstGeom>
        </p:spPr>
      </p:pic>
      <p:cxnSp>
        <p:nvCxnSpPr>
          <p:cNvPr id="13" name="Rechte verbindingslijn 12">
            <a:extLst>
              <a:ext uri="{FF2B5EF4-FFF2-40B4-BE49-F238E27FC236}">
                <a16:creationId xmlns:a16="http://schemas.microsoft.com/office/drawing/2014/main" id="{D27E50D4-A8DB-4029-9EAD-2DF15AB10517}"/>
              </a:ext>
            </a:extLst>
          </p:cNvPr>
          <p:cNvCxnSpPr/>
          <p:nvPr userDrawn="1"/>
        </p:nvCxnSpPr>
        <p:spPr>
          <a:xfrm>
            <a:off x="720725" y="1440000"/>
            <a:ext cx="900000" cy="0"/>
          </a:xfrm>
          <a:prstGeom prst="line">
            <a:avLst/>
          </a:prstGeom>
          <a:ln w="50800">
            <a:solidFill>
              <a:srgbClr val="FFE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el 13">
            <a:extLst>
              <a:ext uri="{FF2B5EF4-FFF2-40B4-BE49-F238E27FC236}">
                <a16:creationId xmlns:a16="http://schemas.microsoft.com/office/drawing/2014/main" id="{F265506E-0B97-4EC8-A558-3BC473CC55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357189"/>
            <a:ext cx="10753200" cy="1080000"/>
          </a:xfrm>
        </p:spPr>
        <p:txBody>
          <a:bodyPr anchor="ctr" anchorCtr="0">
            <a:normAutofit/>
          </a:bodyPr>
          <a:lstStyle>
            <a:lvl1pPr>
              <a:defRPr sz="36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pic>
        <p:nvPicPr>
          <p:cNvPr id="7" name="Graphic 6">
            <a:hlinkClick r:id="" action="ppaction://noaction"/>
            <a:extLst>
              <a:ext uri="{FF2B5EF4-FFF2-40B4-BE49-F238E27FC236}">
                <a16:creationId xmlns:a16="http://schemas.microsoft.com/office/drawing/2014/main" id="{87167055-5011-4CF9-A470-D3C4D42020E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26557" y="5956050"/>
            <a:ext cx="1311431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65165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orpag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Afbeelding 16">
            <a:extLst>
              <a:ext uri="{FF2B5EF4-FFF2-40B4-BE49-F238E27FC236}">
                <a16:creationId xmlns:a16="http://schemas.microsoft.com/office/drawing/2014/main" id="{DC9B652E-EEED-49F2-A7E1-CDB2CA1EC66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217"/>
          <a:stretch/>
        </p:blipFill>
        <p:spPr>
          <a:xfrm>
            <a:off x="0" y="0"/>
            <a:ext cx="12192000" cy="4896874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</p:pic>
      <p:pic>
        <p:nvPicPr>
          <p:cNvPr id="3" name="Afbeelding 2">
            <a:extLst>
              <a:ext uri="{FF2B5EF4-FFF2-40B4-BE49-F238E27FC236}">
                <a16:creationId xmlns:a16="http://schemas.microsoft.com/office/drawing/2014/main" id="{1504C38A-C048-4F7B-BE12-F20F4C154D8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2322871"/>
            <a:ext cx="12193199" cy="4535450"/>
          </a:xfrm>
          <a:prstGeom prst="rect">
            <a:avLst/>
          </a:prstGeom>
        </p:spPr>
      </p:pic>
      <p:sp>
        <p:nvSpPr>
          <p:cNvPr id="15" name="TextBox 6">
            <a:extLst>
              <a:ext uri="{FF2B5EF4-FFF2-40B4-BE49-F238E27FC236}">
                <a16:creationId xmlns:a16="http://schemas.microsoft.com/office/drawing/2014/main" id="{E258003E-8830-4CF5-ACCD-F685F338C066}"/>
              </a:ext>
            </a:extLst>
          </p:cNvPr>
          <p:cNvSpPr txBox="1"/>
          <p:nvPr userDrawn="1"/>
        </p:nvSpPr>
        <p:spPr>
          <a:xfrm>
            <a:off x="8238611" y="5832108"/>
            <a:ext cx="3600000" cy="720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/>
            <a:r>
              <a:rPr lang="nl-BE" sz="1800" u="none">
                <a:solidFill>
                  <a:srgbClr val="373737"/>
                </a:solidFill>
                <a:latin typeface="FlandersArtSans-Medium" panose="00000600000000000000" pitchFamily="2" charset="0"/>
                <a:hlinkClick r:id="rId5"/>
              </a:rPr>
              <a:t>binnenland.vlaanderen.be</a:t>
            </a:r>
            <a:endParaRPr lang="nl-BE" sz="1800" u="none">
              <a:solidFill>
                <a:srgbClr val="373737"/>
              </a:solidFill>
              <a:latin typeface="FlandersArtSans-Medium" panose="00000600000000000000" pitchFamily="2" charset="0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BE" sz="1800">
                <a:solidFill>
                  <a:schemeClr val="tx2"/>
                </a:solidFill>
              </a:rPr>
              <a:t>#burgers #bestuur #verbinden</a:t>
            </a: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6B42DCD9-D851-4D77-A5EB-7E23F08E7D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000" y="5778000"/>
            <a:ext cx="5370702" cy="774000"/>
          </a:xfrm>
        </p:spPr>
        <p:txBody>
          <a:bodyPr tIns="0" anchor="b" anchorCtr="0">
            <a:normAutofit/>
          </a:bodyPr>
          <a:lstStyle>
            <a:lvl1pPr>
              <a:lnSpc>
                <a:spcPct val="100000"/>
              </a:lnSpc>
              <a:defRPr sz="1800"/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1C1ACF8B-F1E5-4DA3-8932-3FDFCA4463A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213200" y="540058"/>
            <a:ext cx="1980000" cy="768493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D9D792B-D741-490B-A147-8994E29CF3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5040000"/>
            <a:ext cx="5370702" cy="720000"/>
          </a:xfrm>
        </p:spPr>
        <p:txBody>
          <a:bodyPr anchor="b" anchorCtr="0">
            <a:normAutofit/>
          </a:bodyPr>
          <a:lstStyle>
            <a:lvl1pPr>
              <a:defRPr sz="24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3C068A00-1F6A-4610-B3C3-67D673B69EB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0724" y="3420000"/>
            <a:ext cx="7200000" cy="1260000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3600">
                <a:latin typeface="FlandersArtSans-Medium" panose="00000600000000000000" pitchFamily="2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407093326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-tekst//geel//GEEN LIJ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65C809DF-DE53-4F87-BA6D-E6C07F856F9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725" y="1799999"/>
            <a:ext cx="10752138" cy="3960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32F63AF-17D1-4117-AD09-4BB236E7B21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5419725" y="0"/>
            <a:ext cx="6772275" cy="1438275"/>
          </a:xfrm>
          <a:prstGeom prst="rect">
            <a:avLst/>
          </a:prstGeom>
        </p:spPr>
      </p:pic>
      <p:sp>
        <p:nvSpPr>
          <p:cNvPr id="16" name="Titel 13">
            <a:extLst>
              <a:ext uri="{FF2B5EF4-FFF2-40B4-BE49-F238E27FC236}">
                <a16:creationId xmlns:a16="http://schemas.microsoft.com/office/drawing/2014/main" id="{F265506E-0B97-4EC8-A558-3BC473CC55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360000"/>
            <a:ext cx="10753200" cy="1080000"/>
          </a:xfrm>
        </p:spPr>
        <p:txBody>
          <a:bodyPr anchor="ctr" anchorCtr="0">
            <a:normAutofit/>
          </a:bodyPr>
          <a:lstStyle>
            <a:lvl1pPr>
              <a:defRPr sz="36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pic>
        <p:nvPicPr>
          <p:cNvPr id="6" name="Graphic 5">
            <a:hlinkClick r:id="" action="ppaction://noaction"/>
            <a:extLst>
              <a:ext uri="{FF2B5EF4-FFF2-40B4-BE49-F238E27FC236}">
                <a16:creationId xmlns:a16="http://schemas.microsoft.com/office/drawing/2014/main" id="{CC648069-4236-4FC5-8A8E-13EECABDE4E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26557" y="5956050"/>
            <a:ext cx="1311431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649707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-tekst//geel//GEEN LIJN//logoBov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65C809DF-DE53-4F87-BA6D-E6C07F856F9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725" y="1799999"/>
            <a:ext cx="10752138" cy="3960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32F63AF-17D1-4117-AD09-4BB236E7B21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5419725" y="0"/>
            <a:ext cx="6772275" cy="1438275"/>
          </a:xfrm>
          <a:prstGeom prst="rect">
            <a:avLst/>
          </a:prstGeom>
        </p:spPr>
      </p:pic>
      <p:sp>
        <p:nvSpPr>
          <p:cNvPr id="16" name="Titel 13">
            <a:extLst>
              <a:ext uri="{FF2B5EF4-FFF2-40B4-BE49-F238E27FC236}">
                <a16:creationId xmlns:a16="http://schemas.microsoft.com/office/drawing/2014/main" id="{F265506E-0B97-4EC8-A558-3BC473CC55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360000"/>
            <a:ext cx="10753200" cy="1080000"/>
          </a:xfrm>
        </p:spPr>
        <p:txBody>
          <a:bodyPr anchor="ctr" anchorCtr="0">
            <a:normAutofit/>
          </a:bodyPr>
          <a:lstStyle>
            <a:lvl1pPr>
              <a:lnSpc>
                <a:spcPct val="95000"/>
              </a:lnSpc>
              <a:defRPr sz="36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pic>
        <p:nvPicPr>
          <p:cNvPr id="7" name="Graphic 6">
            <a:hlinkClick r:id="" action="ppaction://noaction"/>
            <a:extLst>
              <a:ext uri="{FF2B5EF4-FFF2-40B4-BE49-F238E27FC236}">
                <a16:creationId xmlns:a16="http://schemas.microsoft.com/office/drawing/2014/main" id="{D51D7E58-7899-4B1F-A26A-C5E001A53B3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3638" y="357188"/>
            <a:ext cx="1008000" cy="415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98293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-tekst//geel//LIJN//logoBov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65C809DF-DE53-4F87-BA6D-E6C07F856F9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725" y="1799999"/>
            <a:ext cx="10752138" cy="3960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32F63AF-17D1-4117-AD09-4BB236E7B21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5419725" y="0"/>
            <a:ext cx="6772275" cy="1438275"/>
          </a:xfrm>
          <a:prstGeom prst="rect">
            <a:avLst/>
          </a:prstGeom>
        </p:spPr>
      </p:pic>
      <p:sp>
        <p:nvSpPr>
          <p:cNvPr id="16" name="Titel 13">
            <a:extLst>
              <a:ext uri="{FF2B5EF4-FFF2-40B4-BE49-F238E27FC236}">
                <a16:creationId xmlns:a16="http://schemas.microsoft.com/office/drawing/2014/main" id="{F265506E-0B97-4EC8-A558-3BC473CC55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357189"/>
            <a:ext cx="10753200" cy="1080000"/>
          </a:xfrm>
        </p:spPr>
        <p:txBody>
          <a:bodyPr anchor="ctr" anchorCtr="0">
            <a:normAutofit/>
          </a:bodyPr>
          <a:lstStyle>
            <a:lvl1pPr>
              <a:lnSpc>
                <a:spcPct val="95000"/>
              </a:lnSpc>
              <a:defRPr sz="36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pic>
        <p:nvPicPr>
          <p:cNvPr id="7" name="Graphic 6">
            <a:hlinkClick r:id="" action="ppaction://noaction"/>
            <a:extLst>
              <a:ext uri="{FF2B5EF4-FFF2-40B4-BE49-F238E27FC236}">
                <a16:creationId xmlns:a16="http://schemas.microsoft.com/office/drawing/2014/main" id="{D51D7E58-7899-4B1F-A26A-C5E001A53B3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3638" y="357188"/>
            <a:ext cx="1008000" cy="415060"/>
          </a:xfrm>
          <a:prstGeom prst="rect">
            <a:avLst/>
          </a:prstGeom>
        </p:spPr>
      </p:pic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D63A4364-EF9D-49E9-84AA-D6F2A22D346A}"/>
              </a:ext>
            </a:extLst>
          </p:cNvPr>
          <p:cNvCxnSpPr/>
          <p:nvPr userDrawn="1"/>
        </p:nvCxnSpPr>
        <p:spPr>
          <a:xfrm>
            <a:off x="720725" y="1440000"/>
            <a:ext cx="900000" cy="0"/>
          </a:xfrm>
          <a:prstGeom prst="line">
            <a:avLst/>
          </a:prstGeom>
          <a:ln w="50800">
            <a:solidFill>
              <a:srgbClr val="FFE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482695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+tekst+foto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>
            <a:extLst>
              <a:ext uri="{FF2B5EF4-FFF2-40B4-BE49-F238E27FC236}">
                <a16:creationId xmlns:a16="http://schemas.microsoft.com/office/drawing/2014/main" id="{6DEC8C36-793F-4F9B-A88C-AE0C41120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14"/>
          <a:stretch/>
        </p:blipFill>
        <p:spPr>
          <a:xfrm>
            <a:off x="0" y="0"/>
            <a:ext cx="7943160" cy="6741342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0730FD37-3AFD-4998-A139-53FA093F62F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1492"/>
            <a:ext cx="12192000" cy="6855016"/>
          </a:xfrm>
          <a:prstGeom prst="rect">
            <a:avLst/>
          </a:prstGeom>
        </p:spPr>
      </p:pic>
      <p:sp>
        <p:nvSpPr>
          <p:cNvPr id="7" name="Titel 10">
            <a:extLst>
              <a:ext uri="{FF2B5EF4-FFF2-40B4-BE49-F238E27FC236}">
                <a16:creationId xmlns:a16="http://schemas.microsoft.com/office/drawing/2014/main" id="{85CA6835-A703-4473-918D-4B2D5488A3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0" y="357188"/>
            <a:ext cx="7331638" cy="1081029"/>
          </a:xfrm>
          <a:noFill/>
        </p:spPr>
        <p:txBody>
          <a:bodyPr lIns="0" tIns="0" anchor="ctr" anchorCtr="0">
            <a:normAutofit/>
          </a:bodyPr>
          <a:lstStyle>
            <a:lvl1pPr algn="l">
              <a:defRPr sz="36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65C809DF-DE53-4F87-BA6D-E6C07F856F9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00000" y="1799999"/>
            <a:ext cx="7331638" cy="3960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cxnSp>
        <p:nvCxnSpPr>
          <p:cNvPr id="10" name="Rechte verbindingslijn 9">
            <a:extLst>
              <a:ext uri="{FF2B5EF4-FFF2-40B4-BE49-F238E27FC236}">
                <a16:creationId xmlns:a16="http://schemas.microsoft.com/office/drawing/2014/main" id="{48589CDE-A498-47F3-8EFA-DE1E8B304434}"/>
              </a:ext>
            </a:extLst>
          </p:cNvPr>
          <p:cNvCxnSpPr/>
          <p:nvPr userDrawn="1"/>
        </p:nvCxnSpPr>
        <p:spPr>
          <a:xfrm>
            <a:off x="4500000" y="1440000"/>
            <a:ext cx="900000" cy="0"/>
          </a:xfrm>
          <a:prstGeom prst="line">
            <a:avLst/>
          </a:prstGeom>
          <a:ln w="50800">
            <a:solidFill>
              <a:srgbClr val="FFE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hlinkClick r:id="" action="ppaction://noaction"/>
            <a:extLst>
              <a:ext uri="{FF2B5EF4-FFF2-40B4-BE49-F238E27FC236}">
                <a16:creationId xmlns:a16="http://schemas.microsoft.com/office/drawing/2014/main" id="{EB337452-3C8E-4EFD-B0BC-2443E1FDF44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526557" y="5956050"/>
            <a:ext cx="1311431" cy="540000"/>
          </a:xfrm>
          <a:prstGeom prst="rect">
            <a:avLst/>
          </a:prstGeom>
        </p:spPr>
      </p:pic>
      <p:sp>
        <p:nvSpPr>
          <p:cNvPr id="15" name="Tekstvak 14">
            <a:extLst>
              <a:ext uri="{FF2B5EF4-FFF2-40B4-BE49-F238E27FC236}">
                <a16:creationId xmlns:a16="http://schemas.microsoft.com/office/drawing/2014/main" id="{23990880-CC39-40DF-A376-9841BE4B5853}"/>
              </a:ext>
            </a:extLst>
          </p:cNvPr>
          <p:cNvSpPr txBox="1"/>
          <p:nvPr userDrawn="1"/>
        </p:nvSpPr>
        <p:spPr>
          <a:xfrm rot="720000">
            <a:off x="167866" y="5170045"/>
            <a:ext cx="1287720" cy="7794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43200" algn="l">
              <a:lnSpc>
                <a:spcPts val="1400"/>
              </a:lnSpc>
            </a:pPr>
            <a:r>
              <a:rPr lang="nl-BE" sz="1300">
                <a:solidFill>
                  <a:srgbClr val="3C3D3C"/>
                </a:solidFill>
                <a:latin typeface="FlandersArtSans-Medium" panose="00000600000000000000" pitchFamily="2" charset="0"/>
              </a:rPr>
              <a:t>Integratie en</a:t>
            </a:r>
          </a:p>
          <a:p>
            <a:pPr marL="90000" algn="l">
              <a:lnSpc>
                <a:spcPts val="1400"/>
              </a:lnSpc>
            </a:pPr>
            <a:r>
              <a:rPr lang="nl-BE" sz="1300">
                <a:solidFill>
                  <a:srgbClr val="3C3D3C"/>
                </a:solidFill>
                <a:latin typeface="FlandersArtSans-Medium" panose="00000600000000000000" pitchFamily="2" charset="0"/>
              </a:rPr>
              <a:t>Inburgering</a:t>
            </a:r>
          </a:p>
          <a:p>
            <a:pPr marL="522000" algn="l">
              <a:lnSpc>
                <a:spcPts val="1400"/>
              </a:lnSpc>
            </a:pPr>
            <a:r>
              <a:rPr lang="nl-BE" sz="1300">
                <a:solidFill>
                  <a:srgbClr val="3C3D3C"/>
                </a:solidFill>
                <a:latin typeface="FlandersArtSans-Medium" panose="00000600000000000000" pitchFamily="2" charset="0"/>
              </a:rPr>
              <a:t>_____</a:t>
            </a:r>
            <a:endParaRPr lang="nl-BE" sz="1300">
              <a:solidFill>
                <a:srgbClr val="FFEB00"/>
              </a:solidFill>
              <a:latin typeface="FlandersArtSans-Medium" panose="000006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382658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+tekst+foto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>
            <a:extLst>
              <a:ext uri="{FF2B5EF4-FFF2-40B4-BE49-F238E27FC236}">
                <a16:creationId xmlns:a16="http://schemas.microsoft.com/office/drawing/2014/main" id="{6DEC8C36-793F-4F9B-A88C-AE0C41120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560"/>
          <a:stretch/>
        </p:blipFill>
        <p:spPr>
          <a:xfrm>
            <a:off x="251999" y="-1588"/>
            <a:ext cx="9977029" cy="6855016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0730FD37-3AFD-4998-A139-53FA093F62F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2984"/>
            <a:ext cx="12192000" cy="6855016"/>
          </a:xfrm>
          <a:prstGeom prst="rect">
            <a:avLst/>
          </a:prstGeom>
        </p:spPr>
      </p:pic>
      <p:sp>
        <p:nvSpPr>
          <p:cNvPr id="7" name="Titel 10">
            <a:extLst>
              <a:ext uri="{FF2B5EF4-FFF2-40B4-BE49-F238E27FC236}">
                <a16:creationId xmlns:a16="http://schemas.microsoft.com/office/drawing/2014/main" id="{85CA6835-A703-4473-918D-4B2D5488A3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0000" y="357188"/>
            <a:ext cx="6971638" cy="1081029"/>
          </a:xfrm>
          <a:noFill/>
        </p:spPr>
        <p:txBody>
          <a:bodyPr lIns="0" tIns="0" anchor="ctr" anchorCtr="0">
            <a:normAutofit/>
          </a:bodyPr>
          <a:lstStyle>
            <a:lvl1pPr algn="l">
              <a:defRPr sz="36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65C809DF-DE53-4F87-BA6D-E6C07F856F9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60000" y="1799999"/>
            <a:ext cx="6971638" cy="3960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pic>
        <p:nvPicPr>
          <p:cNvPr id="8" name="Graphic 7">
            <a:hlinkClick r:id="" action="ppaction://noaction"/>
            <a:extLst>
              <a:ext uri="{FF2B5EF4-FFF2-40B4-BE49-F238E27FC236}">
                <a16:creationId xmlns:a16="http://schemas.microsoft.com/office/drawing/2014/main" id="{0DDEF4AD-57BA-47C4-A3A3-BCC1F0BDC70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8775" y="357188"/>
            <a:ext cx="1008000" cy="415060"/>
          </a:xfrm>
          <a:prstGeom prst="rect">
            <a:avLst/>
          </a:prstGeom>
        </p:spPr>
      </p:pic>
      <p:cxnSp>
        <p:nvCxnSpPr>
          <p:cNvPr id="10" name="Rechte verbindingslijn 9">
            <a:extLst>
              <a:ext uri="{FF2B5EF4-FFF2-40B4-BE49-F238E27FC236}">
                <a16:creationId xmlns:a16="http://schemas.microsoft.com/office/drawing/2014/main" id="{261E8574-92FB-45B0-8324-0FDBB0603D6D}"/>
              </a:ext>
            </a:extLst>
          </p:cNvPr>
          <p:cNvCxnSpPr/>
          <p:nvPr userDrawn="1"/>
        </p:nvCxnSpPr>
        <p:spPr>
          <a:xfrm>
            <a:off x="4860000" y="1440000"/>
            <a:ext cx="900000" cy="0"/>
          </a:xfrm>
          <a:prstGeom prst="line">
            <a:avLst/>
          </a:prstGeom>
          <a:ln w="50800">
            <a:solidFill>
              <a:srgbClr val="FFE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170639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+tekst+foto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>
            <a:extLst>
              <a:ext uri="{FF2B5EF4-FFF2-40B4-BE49-F238E27FC236}">
                <a16:creationId xmlns:a16="http://schemas.microsoft.com/office/drawing/2014/main" id="{6DEC8C36-793F-4F9B-A88C-AE0C41120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7" b="11160"/>
          <a:stretch/>
        </p:blipFill>
        <p:spPr>
          <a:xfrm>
            <a:off x="0" y="-1"/>
            <a:ext cx="10382652" cy="6858001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0730FD37-3AFD-4998-A139-53FA093F62F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1492"/>
            <a:ext cx="12192000" cy="6855016"/>
          </a:xfrm>
          <a:prstGeom prst="rect">
            <a:avLst/>
          </a:prstGeom>
        </p:spPr>
      </p:pic>
      <p:sp>
        <p:nvSpPr>
          <p:cNvPr id="7" name="Titel 10">
            <a:extLst>
              <a:ext uri="{FF2B5EF4-FFF2-40B4-BE49-F238E27FC236}">
                <a16:creationId xmlns:a16="http://schemas.microsoft.com/office/drawing/2014/main" id="{85CA6835-A703-4473-918D-4B2D5488A3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362" y="357188"/>
            <a:ext cx="6072863" cy="1081029"/>
          </a:xfrm>
          <a:noFill/>
        </p:spPr>
        <p:txBody>
          <a:bodyPr lIns="0" tIns="0" anchor="ctr" anchorCtr="0">
            <a:normAutofit/>
          </a:bodyPr>
          <a:lstStyle>
            <a:lvl1pPr algn="l">
              <a:defRPr sz="36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65C809DF-DE53-4F87-BA6D-E6C07F856F9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60362" y="1799999"/>
            <a:ext cx="6071276" cy="3960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pic>
        <p:nvPicPr>
          <p:cNvPr id="8" name="Graphic 7">
            <a:hlinkClick r:id="" action="ppaction://noaction"/>
            <a:extLst>
              <a:ext uri="{FF2B5EF4-FFF2-40B4-BE49-F238E27FC236}">
                <a16:creationId xmlns:a16="http://schemas.microsoft.com/office/drawing/2014/main" id="{7F9E58C2-A053-4239-A2EE-0EA49859B08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8775" y="357188"/>
            <a:ext cx="1008000" cy="415060"/>
          </a:xfrm>
          <a:prstGeom prst="rect">
            <a:avLst/>
          </a:prstGeom>
        </p:spPr>
      </p:pic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E1B885BB-EF28-4CAD-9B74-B1FB6C6EB739}"/>
              </a:ext>
            </a:extLst>
          </p:cNvPr>
          <p:cNvCxnSpPr/>
          <p:nvPr userDrawn="1"/>
        </p:nvCxnSpPr>
        <p:spPr>
          <a:xfrm>
            <a:off x="5760362" y="1440000"/>
            <a:ext cx="900000" cy="0"/>
          </a:xfrm>
          <a:prstGeom prst="line">
            <a:avLst/>
          </a:prstGeom>
          <a:ln w="50800">
            <a:solidFill>
              <a:srgbClr val="FFE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0FC088DE-A70B-422E-B3BB-89AD5DE57B92}"/>
              </a:ext>
            </a:extLst>
          </p:cNvPr>
          <p:cNvSpPr txBox="1"/>
          <p:nvPr userDrawn="1"/>
        </p:nvSpPr>
        <p:spPr>
          <a:xfrm rot="1620000">
            <a:off x="290309" y="1385441"/>
            <a:ext cx="1106249" cy="720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>
              <a:lnSpc>
                <a:spcPts val="1400"/>
              </a:lnSpc>
            </a:pPr>
            <a:r>
              <a:rPr lang="nl-BE" sz="1300" spc="-20" baseline="0">
                <a:solidFill>
                  <a:srgbClr val="3C3D3C"/>
                </a:solidFill>
                <a:latin typeface="FlandersArtSans-Medium" panose="00000600000000000000" pitchFamily="2" charset="0"/>
              </a:rPr>
              <a:t>Lokaal</a:t>
            </a:r>
          </a:p>
          <a:p>
            <a:pPr algn="l">
              <a:lnSpc>
                <a:spcPts val="1400"/>
              </a:lnSpc>
            </a:pPr>
            <a:r>
              <a:rPr lang="nl-BE" sz="1300" spc="-20" baseline="0">
                <a:solidFill>
                  <a:srgbClr val="3C3D3C"/>
                </a:solidFill>
                <a:latin typeface="FlandersArtSans-Medium" panose="00000600000000000000" pitchFamily="2" charset="0"/>
              </a:rPr>
              <a:t>  bestuur</a:t>
            </a:r>
          </a:p>
          <a:p>
            <a:pPr algn="l">
              <a:lnSpc>
                <a:spcPts val="1400"/>
              </a:lnSpc>
            </a:pPr>
            <a:r>
              <a:rPr lang="nl-BE" sz="1300" spc="-20" baseline="0">
                <a:solidFill>
                  <a:srgbClr val="3C3D3C"/>
                </a:solidFill>
                <a:latin typeface="FlandersArtSans-Medium" panose="00000600000000000000" pitchFamily="2" charset="0"/>
              </a:rPr>
              <a:t>    _____</a:t>
            </a:r>
          </a:p>
        </p:txBody>
      </p:sp>
    </p:spTree>
    <p:extLst>
      <p:ext uri="{BB962C8B-B14F-4D97-AF65-F5344CB8AC3E}">
        <p14:creationId xmlns:p14="http://schemas.microsoft.com/office/powerpoint/2010/main" val="329015633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9949926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-inh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>
            <a:extLst>
              <a:ext uri="{FF2B5EF4-FFF2-40B4-BE49-F238E27FC236}">
                <a16:creationId xmlns:a16="http://schemas.microsoft.com/office/drawing/2014/main" id="{57E6AD24-FA4A-4487-BA58-93DF9E359D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68" t="6367" r="32979" b="-22"/>
          <a:stretch/>
        </p:blipFill>
        <p:spPr>
          <a:xfrm>
            <a:off x="4859427" y="-1"/>
            <a:ext cx="7332574" cy="6858001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CA72CA81-22B0-4F63-B2EE-5900ACF1692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-1588"/>
            <a:ext cx="12197307" cy="6858000"/>
          </a:xfrm>
          <a:prstGeom prst="rect">
            <a:avLst/>
          </a:prstGeom>
        </p:spPr>
      </p:pic>
      <p:cxnSp>
        <p:nvCxnSpPr>
          <p:cNvPr id="8" name="Rechte verbindingslijn 7">
            <a:extLst>
              <a:ext uri="{FF2B5EF4-FFF2-40B4-BE49-F238E27FC236}">
                <a16:creationId xmlns:a16="http://schemas.microsoft.com/office/drawing/2014/main" id="{80E438E6-1343-4C50-A189-72BCF2674F20}"/>
              </a:ext>
            </a:extLst>
          </p:cNvPr>
          <p:cNvCxnSpPr/>
          <p:nvPr userDrawn="1"/>
        </p:nvCxnSpPr>
        <p:spPr>
          <a:xfrm>
            <a:off x="720725" y="1440000"/>
            <a:ext cx="900000" cy="0"/>
          </a:xfrm>
          <a:prstGeom prst="line">
            <a:avLst/>
          </a:prstGeom>
          <a:ln w="50800">
            <a:solidFill>
              <a:srgbClr val="FFE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el 13">
            <a:extLst>
              <a:ext uri="{FF2B5EF4-FFF2-40B4-BE49-F238E27FC236}">
                <a16:creationId xmlns:a16="http://schemas.microsoft.com/office/drawing/2014/main" id="{CFFADA01-1A92-42A5-8352-E3EEC3837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357189"/>
            <a:ext cx="10753200" cy="1080000"/>
          </a:xfrm>
        </p:spPr>
        <p:txBody>
          <a:bodyPr anchor="ctr" anchorCtr="0">
            <a:normAutofit/>
          </a:bodyPr>
          <a:lstStyle>
            <a:lvl1pPr>
              <a:defRPr sz="36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15" name="Tijdelijke aanduiding voor tekst 2">
            <a:extLst>
              <a:ext uri="{FF2B5EF4-FFF2-40B4-BE49-F238E27FC236}">
                <a16:creationId xmlns:a16="http://schemas.microsoft.com/office/drawing/2014/main" id="{6A43CE44-E083-4BCC-B28E-A7F4B39010B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725" y="1799999"/>
            <a:ext cx="10752138" cy="3960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pic>
        <p:nvPicPr>
          <p:cNvPr id="7" name="Graphic 6">
            <a:hlinkClick r:id="" action="ppaction://noaction"/>
            <a:extLst>
              <a:ext uri="{FF2B5EF4-FFF2-40B4-BE49-F238E27FC236}">
                <a16:creationId xmlns:a16="http://schemas.microsoft.com/office/drawing/2014/main" id="{67F35D2E-ECCD-43E4-8A43-3320C8D4BB3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526558" y="5956050"/>
            <a:ext cx="1311428" cy="540000"/>
          </a:xfrm>
          <a:prstGeom prst="rect">
            <a:avLst/>
          </a:prstGeom>
          <a:effectLst>
            <a:outerShdw blurRad="38100" dist="38100" dir="2700000" algn="tl" rotWithShape="0">
              <a:prstClr val="black">
                <a:alpha val="25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72625373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9-ABB_MISSIE O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>
            <a:extLst>
              <a:ext uri="{FF2B5EF4-FFF2-40B4-BE49-F238E27FC236}">
                <a16:creationId xmlns:a16="http://schemas.microsoft.com/office/drawing/2014/main" id="{6DEC8C36-793F-4F9B-A88C-AE0C41120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84"/>
          <a:stretch/>
        </p:blipFill>
        <p:spPr>
          <a:xfrm>
            <a:off x="252000" y="-2"/>
            <a:ext cx="5682930" cy="6855016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0730FD37-3AFD-4998-A139-53FA093F62F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5016"/>
          </a:xfrm>
          <a:prstGeom prst="rect">
            <a:avLst/>
          </a:prstGeom>
        </p:spPr>
      </p:pic>
      <p:sp>
        <p:nvSpPr>
          <p:cNvPr id="7" name="Titel 10">
            <a:extLst>
              <a:ext uri="{FF2B5EF4-FFF2-40B4-BE49-F238E27FC236}">
                <a16:creationId xmlns:a16="http://schemas.microsoft.com/office/drawing/2014/main" id="{85CA6835-A703-4473-918D-4B2D5488A3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0000" y="357188"/>
            <a:ext cx="6971638" cy="1081029"/>
          </a:xfrm>
          <a:noFill/>
        </p:spPr>
        <p:txBody>
          <a:bodyPr lIns="0" tIns="0" anchor="ctr" anchorCtr="0">
            <a:normAutofit/>
          </a:bodyPr>
          <a:lstStyle>
            <a:lvl1pPr algn="l">
              <a:defRPr sz="36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65C809DF-DE53-4F87-BA6D-E6C07F856F9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60000" y="1799999"/>
            <a:ext cx="6971638" cy="3960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pic>
        <p:nvPicPr>
          <p:cNvPr id="8" name="Graphic 7">
            <a:hlinkClick r:id="" action="ppaction://noaction"/>
            <a:extLst>
              <a:ext uri="{FF2B5EF4-FFF2-40B4-BE49-F238E27FC236}">
                <a16:creationId xmlns:a16="http://schemas.microsoft.com/office/drawing/2014/main" id="{0DDEF4AD-57BA-47C4-A3A3-BCC1F0BDC70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8775" y="357188"/>
            <a:ext cx="1008000" cy="415060"/>
          </a:xfrm>
          <a:prstGeom prst="rect">
            <a:avLst/>
          </a:prstGeom>
        </p:spPr>
      </p:pic>
      <p:cxnSp>
        <p:nvCxnSpPr>
          <p:cNvPr id="10" name="Rechte verbindingslijn 9">
            <a:extLst>
              <a:ext uri="{FF2B5EF4-FFF2-40B4-BE49-F238E27FC236}">
                <a16:creationId xmlns:a16="http://schemas.microsoft.com/office/drawing/2014/main" id="{261E8574-92FB-45B0-8324-0FDBB0603D6D}"/>
              </a:ext>
            </a:extLst>
          </p:cNvPr>
          <p:cNvCxnSpPr/>
          <p:nvPr userDrawn="1"/>
        </p:nvCxnSpPr>
        <p:spPr>
          <a:xfrm>
            <a:off x="4860000" y="1440000"/>
            <a:ext cx="900000" cy="0"/>
          </a:xfrm>
          <a:prstGeom prst="line">
            <a:avLst/>
          </a:prstGeom>
          <a:ln w="50800">
            <a:solidFill>
              <a:srgbClr val="FFE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871877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-Vis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0730FD37-3AFD-4998-A139-53FA093F62F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0" y="0"/>
            <a:ext cx="12197307" cy="6858000"/>
          </a:xfrm>
          <a:prstGeom prst="rect">
            <a:avLst/>
          </a:prstGeom>
        </p:spPr>
      </p:pic>
      <p:sp>
        <p:nvSpPr>
          <p:cNvPr id="7" name="Titel 10">
            <a:extLst>
              <a:ext uri="{FF2B5EF4-FFF2-40B4-BE49-F238E27FC236}">
                <a16:creationId xmlns:a16="http://schemas.microsoft.com/office/drawing/2014/main" id="{85CA6835-A703-4473-918D-4B2D5488A3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362" y="357188"/>
            <a:ext cx="6072863" cy="1081029"/>
          </a:xfrm>
          <a:noFill/>
        </p:spPr>
        <p:txBody>
          <a:bodyPr lIns="0" tIns="0" anchor="ctr" anchorCtr="0">
            <a:normAutofit/>
          </a:bodyPr>
          <a:lstStyle>
            <a:lvl1pPr algn="l">
              <a:defRPr sz="36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65C809DF-DE53-4F87-BA6D-E6C07F856F9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60362" y="1799999"/>
            <a:ext cx="6071276" cy="3960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pic>
        <p:nvPicPr>
          <p:cNvPr id="8" name="Graphic 7">
            <a:hlinkClick r:id="" action="ppaction://noaction"/>
            <a:extLst>
              <a:ext uri="{FF2B5EF4-FFF2-40B4-BE49-F238E27FC236}">
                <a16:creationId xmlns:a16="http://schemas.microsoft.com/office/drawing/2014/main" id="{7F9E58C2-A053-4239-A2EE-0EA49859B08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8775" y="357188"/>
            <a:ext cx="1008000" cy="415060"/>
          </a:xfrm>
          <a:prstGeom prst="rect">
            <a:avLst/>
          </a:prstGeom>
        </p:spPr>
      </p:pic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E1B885BB-EF28-4CAD-9B74-B1FB6C6EB739}"/>
              </a:ext>
            </a:extLst>
          </p:cNvPr>
          <p:cNvCxnSpPr/>
          <p:nvPr userDrawn="1"/>
        </p:nvCxnSpPr>
        <p:spPr>
          <a:xfrm>
            <a:off x="5760362" y="1440000"/>
            <a:ext cx="900000" cy="0"/>
          </a:xfrm>
          <a:prstGeom prst="line">
            <a:avLst/>
          </a:prstGeom>
          <a:ln w="50800">
            <a:solidFill>
              <a:srgbClr val="FFE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771102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oorpag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Afbeelding 13" descr="Afbeelding met venster&#10;&#10;Automatisch gegenereerde beschrijving">
            <a:extLst>
              <a:ext uri="{FF2B5EF4-FFF2-40B4-BE49-F238E27FC236}">
                <a16:creationId xmlns:a16="http://schemas.microsoft.com/office/drawing/2014/main" id="{CAC0A74B-F401-4275-A5AD-16CE68BB6F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1"/>
          <a:stretch/>
        </p:blipFill>
        <p:spPr>
          <a:xfrm>
            <a:off x="6722840" y="0"/>
            <a:ext cx="6546800" cy="4323522"/>
          </a:xfrm>
          <a:prstGeom prst="rect">
            <a:avLst/>
          </a:prstGeom>
        </p:spPr>
      </p:pic>
      <p:pic>
        <p:nvPicPr>
          <p:cNvPr id="11" name="Afbeelding 10" descr="Afbeelding met venster, persoon&#10;&#10;Automatisch gegenereerde beschrijving">
            <a:extLst>
              <a:ext uri="{FF2B5EF4-FFF2-40B4-BE49-F238E27FC236}">
                <a16:creationId xmlns:a16="http://schemas.microsoft.com/office/drawing/2014/main" id="{E4F0402F-C3A6-4D41-A567-BE92376E22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27"/>
          <a:stretch/>
        </p:blipFill>
        <p:spPr>
          <a:xfrm>
            <a:off x="0" y="-2"/>
            <a:ext cx="3041374" cy="4190074"/>
          </a:xfrm>
          <a:prstGeom prst="rect">
            <a:avLst/>
          </a:prstGeom>
        </p:spPr>
      </p:pic>
      <p:pic>
        <p:nvPicPr>
          <p:cNvPr id="7" name="Afbeelding 6" descr="Afbeelding met gebouw, persoon, buiten&#10;&#10;Automatisch gegenereerde beschrijving">
            <a:extLst>
              <a:ext uri="{FF2B5EF4-FFF2-40B4-BE49-F238E27FC236}">
                <a16:creationId xmlns:a16="http://schemas.microsoft.com/office/drawing/2014/main" id="{49CBA059-4E5C-4E2D-80F4-E58A4F6020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12" t="5298" r="11587"/>
          <a:stretch/>
        </p:blipFill>
        <p:spPr>
          <a:xfrm>
            <a:off x="3001616" y="0"/>
            <a:ext cx="5078897" cy="3784645"/>
          </a:xfrm>
          <a:prstGeom prst="rect">
            <a:avLst/>
          </a:prstGeom>
        </p:spPr>
      </p:pic>
      <p:pic>
        <p:nvPicPr>
          <p:cNvPr id="3" name="Afbeelding 2">
            <a:extLst>
              <a:ext uri="{FF2B5EF4-FFF2-40B4-BE49-F238E27FC236}">
                <a16:creationId xmlns:a16="http://schemas.microsoft.com/office/drawing/2014/main" id="{1504C38A-C048-4F7B-BE12-F20F4C154D8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0" y="2322871"/>
            <a:ext cx="12193199" cy="4535450"/>
          </a:xfrm>
          <a:prstGeom prst="rect">
            <a:avLst/>
          </a:prstGeom>
        </p:spPr>
      </p:pic>
      <p:sp>
        <p:nvSpPr>
          <p:cNvPr id="15" name="TextBox 6">
            <a:extLst>
              <a:ext uri="{FF2B5EF4-FFF2-40B4-BE49-F238E27FC236}">
                <a16:creationId xmlns:a16="http://schemas.microsoft.com/office/drawing/2014/main" id="{E258003E-8830-4CF5-ACCD-F685F338C066}"/>
              </a:ext>
            </a:extLst>
          </p:cNvPr>
          <p:cNvSpPr txBox="1"/>
          <p:nvPr userDrawn="1"/>
        </p:nvSpPr>
        <p:spPr>
          <a:xfrm>
            <a:off x="8238611" y="5832108"/>
            <a:ext cx="3600000" cy="720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/>
            <a:r>
              <a:rPr lang="nl-BE" sz="1800" u="none">
                <a:solidFill>
                  <a:srgbClr val="373737"/>
                </a:solidFill>
                <a:latin typeface="FlandersArtSans-Medium" panose="00000600000000000000" pitchFamily="2" charset="0"/>
                <a:hlinkClick r:id="rId6"/>
              </a:rPr>
              <a:t>binnenland.vlaanderen.be</a:t>
            </a:r>
            <a:endParaRPr lang="nl-BE" sz="1800" u="none">
              <a:solidFill>
                <a:srgbClr val="373737"/>
              </a:solidFill>
              <a:latin typeface="FlandersArtSans-Medium" panose="00000600000000000000" pitchFamily="2" charset="0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BE" sz="1800">
                <a:solidFill>
                  <a:schemeClr val="tx2"/>
                </a:solidFill>
              </a:rPr>
              <a:t>#burgers #bestuur #verbinden</a:t>
            </a: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6B42DCD9-D851-4D77-A5EB-7E23F08E7D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000" y="5778000"/>
            <a:ext cx="5370702" cy="774000"/>
          </a:xfrm>
        </p:spPr>
        <p:txBody>
          <a:bodyPr tIns="0" anchor="b" anchorCtr="0">
            <a:normAutofit/>
          </a:bodyPr>
          <a:lstStyle>
            <a:lvl1pPr>
              <a:lnSpc>
                <a:spcPct val="100000"/>
              </a:lnSpc>
              <a:defRPr sz="1800"/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1C1ACF8B-F1E5-4DA3-8932-3FDFCA4463A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213200" y="540058"/>
            <a:ext cx="1980000" cy="768493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D9D792B-D741-490B-A147-8994E29CF3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5040000"/>
            <a:ext cx="5370702" cy="720000"/>
          </a:xfrm>
        </p:spPr>
        <p:txBody>
          <a:bodyPr anchor="b" anchorCtr="0">
            <a:normAutofit/>
          </a:bodyPr>
          <a:lstStyle>
            <a:lvl1pPr>
              <a:defRPr sz="24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3C068A00-1F6A-4610-B3C3-67D673B69EB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0724" y="3420000"/>
            <a:ext cx="7200000" cy="1260000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3600">
                <a:latin typeface="FlandersArtSans-Medium" panose="00000600000000000000" pitchFamily="2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39811035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LokBest_Instrume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 descr="Afbeelding met gebouw, buiten, lucht, grond&#10;&#10;Automatisch gegenereerde beschrijving">
            <a:extLst>
              <a:ext uri="{FF2B5EF4-FFF2-40B4-BE49-F238E27FC236}">
                <a16:creationId xmlns:a16="http://schemas.microsoft.com/office/drawing/2014/main" id="{CE786149-DF47-4BAA-82EF-7D52386F84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515"/>
          <a:stretch/>
        </p:blipFill>
        <p:spPr>
          <a:xfrm>
            <a:off x="5817143" y="1346196"/>
            <a:ext cx="6374857" cy="5511803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0730FD37-3AFD-4998-A139-53FA093F62F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-1588"/>
            <a:ext cx="12197307" cy="6858000"/>
          </a:xfrm>
          <a:prstGeom prst="rect">
            <a:avLst/>
          </a:prstGeom>
        </p:spPr>
      </p:pic>
      <p:sp>
        <p:nvSpPr>
          <p:cNvPr id="12" name="Tekstvak 11">
            <a:extLst>
              <a:ext uri="{FF2B5EF4-FFF2-40B4-BE49-F238E27FC236}">
                <a16:creationId xmlns:a16="http://schemas.microsoft.com/office/drawing/2014/main" id="{41D96A7E-3752-4C26-AB56-8908D4CC8049}"/>
              </a:ext>
            </a:extLst>
          </p:cNvPr>
          <p:cNvSpPr txBox="1"/>
          <p:nvPr userDrawn="1"/>
        </p:nvSpPr>
        <p:spPr>
          <a:xfrm rot="720000">
            <a:off x="10110199" y="401531"/>
            <a:ext cx="625704" cy="7794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144000" algn="l">
              <a:lnSpc>
                <a:spcPts val="1400"/>
              </a:lnSpc>
            </a:pPr>
            <a:r>
              <a:rPr lang="nl-BE" sz="1300">
                <a:solidFill>
                  <a:srgbClr val="3C3D3C"/>
                </a:solidFill>
                <a:latin typeface="FlandersArtSans-Medium" panose="00000600000000000000" pitchFamily="2" charset="0"/>
              </a:rPr>
              <a:t>Lokaal</a:t>
            </a:r>
          </a:p>
          <a:p>
            <a:pPr algn="l">
              <a:lnSpc>
                <a:spcPts val="1400"/>
              </a:lnSpc>
            </a:pPr>
            <a:r>
              <a:rPr lang="nl-BE" sz="1300">
                <a:solidFill>
                  <a:srgbClr val="3C3D3C"/>
                </a:solidFill>
                <a:latin typeface="FlandersArtSans-Medium" panose="00000600000000000000" pitchFamily="2" charset="0"/>
              </a:rPr>
              <a:t>bestuur</a:t>
            </a:r>
          </a:p>
          <a:p>
            <a:pPr marL="0" algn="ctr">
              <a:lnSpc>
                <a:spcPts val="1400"/>
              </a:lnSpc>
            </a:pPr>
            <a:r>
              <a:rPr lang="nl-BE" sz="1300">
                <a:solidFill>
                  <a:srgbClr val="3C3D3C"/>
                </a:solidFill>
                <a:latin typeface="FlandersArtSans-Medium" panose="00000600000000000000" pitchFamily="2" charset="0"/>
              </a:rPr>
              <a:t>_____</a:t>
            </a:r>
            <a:endParaRPr lang="nl-BE" sz="1300">
              <a:solidFill>
                <a:srgbClr val="FFEB00"/>
              </a:solidFill>
              <a:latin typeface="FlandersArtSans-Medium" panose="00000600000000000000" pitchFamily="2" charset="0"/>
            </a:endParaRPr>
          </a:p>
        </p:txBody>
      </p:sp>
      <p:sp>
        <p:nvSpPr>
          <p:cNvPr id="10" name="Tijdelijke aanduiding voor tekst 2">
            <a:extLst>
              <a:ext uri="{FF2B5EF4-FFF2-40B4-BE49-F238E27FC236}">
                <a16:creationId xmlns:a16="http://schemas.microsoft.com/office/drawing/2014/main" id="{BB96457E-8F7D-4EF5-A088-C4AC5088E0D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725" y="1799999"/>
            <a:ext cx="7513200" cy="3960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cxnSp>
        <p:nvCxnSpPr>
          <p:cNvPr id="13" name="Rechte verbindingslijn 12">
            <a:extLst>
              <a:ext uri="{FF2B5EF4-FFF2-40B4-BE49-F238E27FC236}">
                <a16:creationId xmlns:a16="http://schemas.microsoft.com/office/drawing/2014/main" id="{FBE18EDD-C064-4901-8FD4-0861F71052D5}"/>
              </a:ext>
            </a:extLst>
          </p:cNvPr>
          <p:cNvCxnSpPr/>
          <p:nvPr userDrawn="1"/>
        </p:nvCxnSpPr>
        <p:spPr>
          <a:xfrm>
            <a:off x="720725" y="1620000"/>
            <a:ext cx="900000" cy="0"/>
          </a:xfrm>
          <a:prstGeom prst="line">
            <a:avLst/>
          </a:prstGeom>
          <a:ln w="50800">
            <a:solidFill>
              <a:srgbClr val="FFE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el 13">
            <a:extLst>
              <a:ext uri="{FF2B5EF4-FFF2-40B4-BE49-F238E27FC236}">
                <a16:creationId xmlns:a16="http://schemas.microsoft.com/office/drawing/2014/main" id="{76D30644-5F9E-48EF-807E-84F06A12E7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720367"/>
            <a:ext cx="7513200" cy="720000"/>
          </a:xfrm>
        </p:spPr>
        <p:txBody>
          <a:bodyPr anchor="ctr" anchorCtr="0">
            <a:normAutofit/>
          </a:bodyPr>
          <a:lstStyle>
            <a:lvl1pPr>
              <a:defRPr sz="36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FAFC2373-A31E-4CDF-9D5E-6A17816A25E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725" y="359999"/>
            <a:ext cx="7511875" cy="396000"/>
          </a:xfrm>
        </p:spPr>
        <p:txBody>
          <a:bodyPr anchor="b" anchorCtr="0">
            <a:normAutofit/>
          </a:bodyPr>
          <a:lstStyle>
            <a:lvl1pPr>
              <a:defRPr sz="1200">
                <a:latin typeface="FlandersArtSans-Medium" panose="00000600000000000000" pitchFamily="2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pic>
        <p:nvPicPr>
          <p:cNvPr id="16" name="Graphic 15">
            <a:hlinkClick r:id="" action="ppaction://noaction"/>
            <a:extLst>
              <a:ext uri="{FF2B5EF4-FFF2-40B4-BE49-F238E27FC236}">
                <a16:creationId xmlns:a16="http://schemas.microsoft.com/office/drawing/2014/main" id="{A0AC9092-D5DB-45EF-814D-E406A04A50D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0000" y="5956050"/>
            <a:ext cx="1311431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229354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-LokBest-Strategis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Afbeelding 9" descr="Afbeelding met persoon, man, gebouw, tafel&#10;&#10;Automatisch gegenereerde beschrijving">
            <a:extLst>
              <a:ext uri="{FF2B5EF4-FFF2-40B4-BE49-F238E27FC236}">
                <a16:creationId xmlns:a16="http://schemas.microsoft.com/office/drawing/2014/main" id="{D57955A1-3A66-4D44-9E13-7C228EF00D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84"/>
          <a:stretch/>
        </p:blipFill>
        <p:spPr>
          <a:xfrm>
            <a:off x="0" y="0"/>
            <a:ext cx="7357790" cy="685800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0730FD37-3AFD-4998-A139-53FA093F62F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7307" cy="6858000"/>
          </a:xfrm>
          <a:prstGeom prst="rect">
            <a:avLst/>
          </a:prstGeom>
        </p:spPr>
      </p:pic>
      <p:sp>
        <p:nvSpPr>
          <p:cNvPr id="7" name="Titel 10">
            <a:extLst>
              <a:ext uri="{FF2B5EF4-FFF2-40B4-BE49-F238E27FC236}">
                <a16:creationId xmlns:a16="http://schemas.microsoft.com/office/drawing/2014/main" id="{85CA6835-A703-4473-918D-4B2D5488A3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362" y="357188"/>
            <a:ext cx="6072863" cy="1081029"/>
          </a:xfrm>
          <a:noFill/>
        </p:spPr>
        <p:txBody>
          <a:bodyPr lIns="0" tIns="0" anchor="ctr" anchorCtr="0">
            <a:normAutofit/>
          </a:bodyPr>
          <a:lstStyle>
            <a:lvl1pPr algn="l">
              <a:defRPr sz="36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65C809DF-DE53-4F87-BA6D-E6C07F856F9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60362" y="1799999"/>
            <a:ext cx="6071276" cy="3960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pic>
        <p:nvPicPr>
          <p:cNvPr id="8" name="Graphic 7">
            <a:hlinkClick r:id="" action="ppaction://noaction"/>
            <a:extLst>
              <a:ext uri="{FF2B5EF4-FFF2-40B4-BE49-F238E27FC236}">
                <a16:creationId xmlns:a16="http://schemas.microsoft.com/office/drawing/2014/main" id="{7F9E58C2-A053-4239-A2EE-0EA49859B08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8775" y="357188"/>
            <a:ext cx="1008000" cy="415060"/>
          </a:xfrm>
          <a:prstGeom prst="rect">
            <a:avLst/>
          </a:prstGeom>
        </p:spPr>
      </p:pic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E1B885BB-EF28-4CAD-9B74-B1FB6C6EB739}"/>
              </a:ext>
            </a:extLst>
          </p:cNvPr>
          <p:cNvCxnSpPr/>
          <p:nvPr userDrawn="1"/>
        </p:nvCxnSpPr>
        <p:spPr>
          <a:xfrm>
            <a:off x="5760362" y="1440000"/>
            <a:ext cx="900000" cy="0"/>
          </a:xfrm>
          <a:prstGeom prst="line">
            <a:avLst/>
          </a:prstGeom>
          <a:ln w="50800">
            <a:solidFill>
              <a:srgbClr val="FFE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0FC088DE-A70B-422E-B3BB-89AD5DE57B92}"/>
              </a:ext>
            </a:extLst>
          </p:cNvPr>
          <p:cNvSpPr txBox="1"/>
          <p:nvPr userDrawn="1"/>
        </p:nvSpPr>
        <p:spPr>
          <a:xfrm rot="1620000">
            <a:off x="290309" y="1385441"/>
            <a:ext cx="1106249" cy="720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>
              <a:lnSpc>
                <a:spcPts val="1400"/>
              </a:lnSpc>
            </a:pPr>
            <a:r>
              <a:rPr lang="nl-BE" sz="1300" spc="-20" baseline="0">
                <a:solidFill>
                  <a:srgbClr val="3C3D3C"/>
                </a:solidFill>
                <a:latin typeface="FlandersArtSans-Medium" panose="00000600000000000000" pitchFamily="2" charset="0"/>
              </a:rPr>
              <a:t>Lokaal</a:t>
            </a:r>
          </a:p>
          <a:p>
            <a:pPr algn="l">
              <a:lnSpc>
                <a:spcPts val="1400"/>
              </a:lnSpc>
            </a:pPr>
            <a:r>
              <a:rPr lang="nl-BE" sz="1300" spc="-20" baseline="0">
                <a:solidFill>
                  <a:srgbClr val="3C3D3C"/>
                </a:solidFill>
                <a:latin typeface="FlandersArtSans-Medium" panose="00000600000000000000" pitchFamily="2" charset="0"/>
              </a:rPr>
              <a:t>  bestuur</a:t>
            </a:r>
          </a:p>
          <a:p>
            <a:pPr algn="l">
              <a:lnSpc>
                <a:spcPts val="1400"/>
              </a:lnSpc>
            </a:pPr>
            <a:r>
              <a:rPr lang="nl-BE" sz="1300" spc="-20" baseline="0">
                <a:solidFill>
                  <a:srgbClr val="3C3D3C"/>
                </a:solidFill>
                <a:latin typeface="FlandersArtSans-Medium" panose="00000600000000000000" pitchFamily="2" charset="0"/>
              </a:rPr>
              <a:t>    _____</a:t>
            </a:r>
          </a:p>
        </p:txBody>
      </p:sp>
    </p:spTree>
    <p:extLst>
      <p:ext uri="{BB962C8B-B14F-4D97-AF65-F5344CB8AC3E}">
        <p14:creationId xmlns:p14="http://schemas.microsoft.com/office/powerpoint/2010/main" val="249184303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-GELIJKE KANS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 descr="Afbeelding met gebouw, groen, binnen, muur&#10;&#10;Automatisch gegenereerde beschrijving">
            <a:extLst>
              <a:ext uri="{FF2B5EF4-FFF2-40B4-BE49-F238E27FC236}">
                <a16:creationId xmlns:a16="http://schemas.microsoft.com/office/drawing/2014/main" id="{1A63A43C-00F3-419E-B106-2AC0CB9EB5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189" b="19477"/>
          <a:stretch/>
        </p:blipFill>
        <p:spPr>
          <a:xfrm>
            <a:off x="5511800" y="2527559"/>
            <a:ext cx="6680200" cy="4330442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5EA3C77F-083D-48B0-AEAB-76F0F0726E4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7306" cy="6857999"/>
          </a:xfrm>
          <a:prstGeom prst="rect">
            <a:avLst/>
          </a:prstGeom>
        </p:spPr>
      </p:pic>
      <p:sp>
        <p:nvSpPr>
          <p:cNvPr id="11" name="Titel 10">
            <a:extLst>
              <a:ext uri="{FF2B5EF4-FFF2-40B4-BE49-F238E27FC236}">
                <a16:creationId xmlns:a16="http://schemas.microsoft.com/office/drawing/2014/main" id="{2E250162-3FBD-465A-A88D-B1EF97043D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0000" y="720000"/>
            <a:ext cx="9493924" cy="720000"/>
          </a:xfrm>
        </p:spPr>
        <p:txBody>
          <a:bodyPr lIns="0" anchor="ctr" anchorCtr="0">
            <a:normAutofit/>
          </a:bodyPr>
          <a:lstStyle>
            <a:lvl1pPr>
              <a:defRPr sz="36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1E1B337E-B563-4F3A-9CDE-5329B589DA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80000" y="1980000"/>
            <a:ext cx="9496800" cy="4157275"/>
          </a:xfrm>
        </p:spPr>
        <p:txBody>
          <a:bodyPr lIns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pic>
        <p:nvPicPr>
          <p:cNvPr id="7" name="Graphic 6">
            <a:hlinkClick r:id="" action="ppaction://noaction"/>
            <a:extLst>
              <a:ext uri="{FF2B5EF4-FFF2-40B4-BE49-F238E27FC236}">
                <a16:creationId xmlns:a16="http://schemas.microsoft.com/office/drawing/2014/main" id="{9428F45E-814A-4F25-BF29-6D4EDF953B7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8774" y="357189"/>
            <a:ext cx="1008000" cy="415058"/>
          </a:xfrm>
          <a:prstGeom prst="rect">
            <a:avLst/>
          </a:prstGeom>
        </p:spPr>
      </p:pic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54FFD4E6-B8F9-4E64-B530-04AF07E085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979999" y="359999"/>
            <a:ext cx="9492863" cy="396000"/>
          </a:xfrm>
        </p:spPr>
        <p:txBody>
          <a:bodyPr anchor="b" anchorCtr="0">
            <a:normAutofit/>
          </a:bodyPr>
          <a:lstStyle>
            <a:lvl1pPr>
              <a:defRPr sz="1200">
                <a:latin typeface="FlandersArtSans-Medium" panose="00000600000000000000" pitchFamily="2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cxnSp>
        <p:nvCxnSpPr>
          <p:cNvPr id="10" name="Rechte verbindingslijn 9">
            <a:extLst>
              <a:ext uri="{FF2B5EF4-FFF2-40B4-BE49-F238E27FC236}">
                <a16:creationId xmlns:a16="http://schemas.microsoft.com/office/drawing/2014/main" id="{E3A148CB-828F-4DFD-AA4C-69725B2E3FBA}"/>
              </a:ext>
            </a:extLst>
          </p:cNvPr>
          <p:cNvCxnSpPr/>
          <p:nvPr userDrawn="1"/>
        </p:nvCxnSpPr>
        <p:spPr>
          <a:xfrm>
            <a:off x="1979999" y="1620000"/>
            <a:ext cx="900000" cy="0"/>
          </a:xfrm>
          <a:prstGeom prst="line">
            <a:avLst/>
          </a:prstGeom>
          <a:ln w="50800">
            <a:solidFill>
              <a:srgbClr val="FFE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697462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-Bruss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Afbeelding met gebouw, buiten, mensen, groot&#10;&#10;Automatisch gegenereerde beschrijving">
            <a:extLst>
              <a:ext uri="{FF2B5EF4-FFF2-40B4-BE49-F238E27FC236}">
                <a16:creationId xmlns:a16="http://schemas.microsoft.com/office/drawing/2014/main" id="{C5256EE4-DF4B-4892-9B76-F331D003BD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674"/>
          <a:stretch/>
        </p:blipFill>
        <p:spPr>
          <a:xfrm>
            <a:off x="5251450" y="3140486"/>
            <a:ext cx="6940550" cy="3717513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5EA3C77F-083D-48B0-AEAB-76F0F0726E4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7306" cy="6857999"/>
          </a:xfrm>
          <a:prstGeom prst="rect">
            <a:avLst/>
          </a:prstGeom>
        </p:spPr>
      </p:pic>
      <p:sp>
        <p:nvSpPr>
          <p:cNvPr id="11" name="Titel 10">
            <a:extLst>
              <a:ext uri="{FF2B5EF4-FFF2-40B4-BE49-F238E27FC236}">
                <a16:creationId xmlns:a16="http://schemas.microsoft.com/office/drawing/2014/main" id="{2E250162-3FBD-465A-A88D-B1EF97043D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0000" y="720000"/>
            <a:ext cx="9493924" cy="720000"/>
          </a:xfrm>
        </p:spPr>
        <p:txBody>
          <a:bodyPr lIns="0" anchor="ctr" anchorCtr="0">
            <a:normAutofit/>
          </a:bodyPr>
          <a:lstStyle>
            <a:lvl1pPr>
              <a:defRPr sz="36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1E1B337E-B563-4F3A-9CDE-5329B589DA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80000" y="1980000"/>
            <a:ext cx="9496800" cy="4157275"/>
          </a:xfrm>
        </p:spPr>
        <p:txBody>
          <a:bodyPr lIns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pic>
        <p:nvPicPr>
          <p:cNvPr id="7" name="Graphic 6">
            <a:hlinkClick r:id="" action="ppaction://noaction"/>
            <a:extLst>
              <a:ext uri="{FF2B5EF4-FFF2-40B4-BE49-F238E27FC236}">
                <a16:creationId xmlns:a16="http://schemas.microsoft.com/office/drawing/2014/main" id="{9428F45E-814A-4F25-BF29-6D4EDF953B7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8774" y="357189"/>
            <a:ext cx="1008000" cy="415058"/>
          </a:xfrm>
          <a:prstGeom prst="rect">
            <a:avLst/>
          </a:prstGeom>
        </p:spPr>
      </p:pic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54FFD4E6-B8F9-4E64-B530-04AF07E085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979999" y="359999"/>
            <a:ext cx="9492863" cy="396000"/>
          </a:xfrm>
        </p:spPr>
        <p:txBody>
          <a:bodyPr anchor="b" anchorCtr="0">
            <a:normAutofit/>
          </a:bodyPr>
          <a:lstStyle>
            <a:lvl1pPr>
              <a:defRPr sz="1200">
                <a:latin typeface="FlandersArtSans-Medium" panose="00000600000000000000" pitchFamily="2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cxnSp>
        <p:nvCxnSpPr>
          <p:cNvPr id="10" name="Rechte verbindingslijn 9">
            <a:extLst>
              <a:ext uri="{FF2B5EF4-FFF2-40B4-BE49-F238E27FC236}">
                <a16:creationId xmlns:a16="http://schemas.microsoft.com/office/drawing/2014/main" id="{E3A148CB-828F-4DFD-AA4C-69725B2E3FBA}"/>
              </a:ext>
            </a:extLst>
          </p:cNvPr>
          <p:cNvCxnSpPr/>
          <p:nvPr userDrawn="1"/>
        </p:nvCxnSpPr>
        <p:spPr>
          <a:xfrm>
            <a:off x="1979999" y="1620000"/>
            <a:ext cx="900000" cy="0"/>
          </a:xfrm>
          <a:prstGeom prst="line">
            <a:avLst/>
          </a:prstGeom>
          <a:ln w="50800">
            <a:solidFill>
              <a:srgbClr val="FFE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188014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-blijf op de hoog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2B140009-D296-44AC-9500-69C690B03F1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A905F8F9-A082-4A0F-8A07-9AA5C01FC1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260000"/>
            <a:ext cx="12193200" cy="1890000"/>
          </a:xfrm>
        </p:spPr>
        <p:txBody>
          <a:bodyPr lIns="720000" tIns="180000" rIns="720000"/>
          <a:lstStyle/>
          <a:p>
            <a:r>
              <a:rPr lang="nl-NL"/>
              <a:t>Klik om stijl te bewerken</a:t>
            </a:r>
            <a:endParaRPr lang="nl-BE"/>
          </a:p>
        </p:txBody>
      </p:sp>
      <p:pic>
        <p:nvPicPr>
          <p:cNvPr id="13" name="Graphic 12">
            <a:hlinkClick r:id="" action="ppaction://noaction"/>
            <a:extLst>
              <a:ext uri="{FF2B5EF4-FFF2-40B4-BE49-F238E27FC236}">
                <a16:creationId xmlns:a16="http://schemas.microsoft.com/office/drawing/2014/main" id="{93F3DD8F-13A3-465C-B867-049DA9BBBDE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0725" y="5778000"/>
            <a:ext cx="1748573" cy="720000"/>
          </a:xfrm>
          <a:prstGeom prst="rect">
            <a:avLst/>
          </a:prstGeom>
        </p:spPr>
      </p:pic>
      <p:pic>
        <p:nvPicPr>
          <p:cNvPr id="17" name="Graphic 16">
            <a:hlinkClick r:id="" action="ppaction://noaction"/>
            <a:extLst>
              <a:ext uri="{FF2B5EF4-FFF2-40B4-BE49-F238E27FC236}">
                <a16:creationId xmlns:a16="http://schemas.microsoft.com/office/drawing/2014/main" id="{AC77402D-E395-492E-8E40-C42BA6F6C7F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4800" y="540000"/>
            <a:ext cx="604550" cy="770400"/>
          </a:xfrm>
          <a:prstGeom prst="rect">
            <a:avLst/>
          </a:prstGeom>
        </p:spPr>
      </p:pic>
      <p:sp>
        <p:nvSpPr>
          <p:cNvPr id="19" name="Tijdelijke aanduiding voor tekst 18">
            <a:extLst>
              <a:ext uri="{FF2B5EF4-FFF2-40B4-BE49-F238E27FC236}">
                <a16:creationId xmlns:a16="http://schemas.microsoft.com/office/drawing/2014/main" id="{14019916-3AE5-40D8-9399-B27DF8CED5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726" y="3150000"/>
            <a:ext cx="10752138" cy="900000"/>
          </a:xfrm>
        </p:spPr>
        <p:txBody>
          <a:bodyPr anchor="ctr" anchorCtr="0"/>
          <a:lstStyle>
            <a:lvl2pPr marL="360000" indent="0">
              <a:buNone/>
              <a:defRPr/>
            </a:lvl2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230900063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-contact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 descr="Afbeelding met binnen, gebouw, tafel, grond&#10;&#10;Automatisch gegenereerde beschrijving">
            <a:extLst>
              <a:ext uri="{FF2B5EF4-FFF2-40B4-BE49-F238E27FC236}">
                <a16:creationId xmlns:a16="http://schemas.microsoft.com/office/drawing/2014/main" id="{16D87913-64D6-4BB1-A6A6-19503D064F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37"/>
          <a:stretch/>
        </p:blipFill>
        <p:spPr>
          <a:xfrm>
            <a:off x="-1" y="0"/>
            <a:ext cx="5545547" cy="685800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0730FD37-3AFD-4998-A139-53FA093F62F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7307" cy="6858000"/>
          </a:xfrm>
          <a:prstGeom prst="rect">
            <a:avLst/>
          </a:prstGeom>
        </p:spPr>
      </p:pic>
      <p:sp>
        <p:nvSpPr>
          <p:cNvPr id="7" name="Titel 10">
            <a:extLst>
              <a:ext uri="{FF2B5EF4-FFF2-40B4-BE49-F238E27FC236}">
                <a16:creationId xmlns:a16="http://schemas.microsoft.com/office/drawing/2014/main" id="{85CA6835-A703-4473-918D-4B2D5488A3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362" y="357188"/>
            <a:ext cx="6072863" cy="1081029"/>
          </a:xfrm>
          <a:noFill/>
        </p:spPr>
        <p:txBody>
          <a:bodyPr lIns="0" tIns="0" anchor="ctr" anchorCtr="0">
            <a:normAutofit/>
          </a:bodyPr>
          <a:lstStyle>
            <a:lvl1pPr algn="l">
              <a:defRPr sz="36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65C809DF-DE53-4F87-BA6D-E6C07F856F9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60362" y="1799999"/>
            <a:ext cx="6071276" cy="3960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pic>
        <p:nvPicPr>
          <p:cNvPr id="8" name="Graphic 7">
            <a:hlinkClick r:id="" action="ppaction://noaction"/>
            <a:extLst>
              <a:ext uri="{FF2B5EF4-FFF2-40B4-BE49-F238E27FC236}">
                <a16:creationId xmlns:a16="http://schemas.microsoft.com/office/drawing/2014/main" id="{7F9E58C2-A053-4239-A2EE-0EA49859B08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8775" y="357188"/>
            <a:ext cx="1008000" cy="415060"/>
          </a:xfrm>
          <a:prstGeom prst="rect">
            <a:avLst/>
          </a:prstGeom>
        </p:spPr>
      </p:pic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E1B885BB-EF28-4CAD-9B74-B1FB6C6EB739}"/>
              </a:ext>
            </a:extLst>
          </p:cNvPr>
          <p:cNvCxnSpPr/>
          <p:nvPr userDrawn="1"/>
        </p:nvCxnSpPr>
        <p:spPr>
          <a:xfrm>
            <a:off x="5760362" y="1440000"/>
            <a:ext cx="900000" cy="0"/>
          </a:xfrm>
          <a:prstGeom prst="line">
            <a:avLst/>
          </a:prstGeom>
          <a:ln w="50800">
            <a:solidFill>
              <a:srgbClr val="FFE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phic 12">
            <a:hlinkClick r:id="" action="ppaction://noaction"/>
            <a:extLst>
              <a:ext uri="{FF2B5EF4-FFF2-40B4-BE49-F238E27FC236}">
                <a16:creationId xmlns:a16="http://schemas.microsoft.com/office/drawing/2014/main" id="{D5FFBB84-DDF4-471E-9B11-1889D466191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4800" y="540000"/>
            <a:ext cx="604550" cy="77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092343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-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>
            <a:extLst>
              <a:ext uri="{FF2B5EF4-FFF2-40B4-BE49-F238E27FC236}">
                <a16:creationId xmlns:a16="http://schemas.microsoft.com/office/drawing/2014/main" id="{6DEC8C36-793F-4F9B-A88C-AE0C41120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0"/>
          <a:stretch/>
        </p:blipFill>
        <p:spPr>
          <a:xfrm>
            <a:off x="7858125" y="1282891"/>
            <a:ext cx="4333875" cy="5572123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0730FD37-3AFD-4998-A139-53FA093F62F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5016"/>
          </a:xfrm>
          <a:prstGeom prst="rect">
            <a:avLst/>
          </a:prstGeom>
        </p:spPr>
      </p:pic>
      <p:sp>
        <p:nvSpPr>
          <p:cNvPr id="7" name="Titel 10">
            <a:extLst>
              <a:ext uri="{FF2B5EF4-FFF2-40B4-BE49-F238E27FC236}">
                <a16:creationId xmlns:a16="http://schemas.microsoft.com/office/drawing/2014/main" id="{85CA6835-A703-4473-918D-4B2D5488A3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725" y="357188"/>
            <a:ext cx="6286467" cy="1081029"/>
          </a:xfrm>
          <a:noFill/>
        </p:spPr>
        <p:txBody>
          <a:bodyPr lIns="0" tIns="0" anchor="ctr" anchorCtr="0">
            <a:normAutofit/>
          </a:bodyPr>
          <a:lstStyle>
            <a:lvl1pPr algn="l">
              <a:defRPr sz="36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65C809DF-DE53-4F87-BA6D-E6C07F856F9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725" y="1799999"/>
            <a:ext cx="6286467" cy="3960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cxnSp>
        <p:nvCxnSpPr>
          <p:cNvPr id="8" name="Rechte verbindingslijn 7">
            <a:extLst>
              <a:ext uri="{FF2B5EF4-FFF2-40B4-BE49-F238E27FC236}">
                <a16:creationId xmlns:a16="http://schemas.microsoft.com/office/drawing/2014/main" id="{0F0503B9-1B56-4529-B1D3-9550C803D3A4}"/>
              </a:ext>
            </a:extLst>
          </p:cNvPr>
          <p:cNvCxnSpPr/>
          <p:nvPr userDrawn="1"/>
        </p:nvCxnSpPr>
        <p:spPr>
          <a:xfrm>
            <a:off x="720725" y="1440000"/>
            <a:ext cx="900000" cy="0"/>
          </a:xfrm>
          <a:prstGeom prst="line">
            <a:avLst/>
          </a:prstGeom>
          <a:ln w="50800">
            <a:solidFill>
              <a:srgbClr val="FFE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phic 9">
            <a:hlinkClick r:id="" action="ppaction://noaction"/>
            <a:extLst>
              <a:ext uri="{FF2B5EF4-FFF2-40B4-BE49-F238E27FC236}">
                <a16:creationId xmlns:a16="http://schemas.microsoft.com/office/drawing/2014/main" id="{9B49C929-9587-47A7-9130-F288B5CCC6B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0000" y="5956050"/>
            <a:ext cx="1311431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595036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6"/>
          <p:cNvSpPr>
            <a:spLocks noGrp="1"/>
          </p:cNvSpPr>
          <p:nvPr>
            <p:ph type="sldNum" sz="quarter" idx="12"/>
          </p:nvPr>
        </p:nvSpPr>
        <p:spPr>
          <a:xfrm>
            <a:off x="9168021" y="6403147"/>
            <a:ext cx="2855495" cy="230832"/>
          </a:xfrm>
        </p:spPr>
        <p:txBody>
          <a:bodyPr/>
          <a:lstStyle>
            <a:lvl1pPr>
              <a:defRPr sz="831">
                <a:latin typeface="FlandersArtSans-Regular" panose="00000500000000000000" pitchFamily="2" charset="0"/>
              </a:defRPr>
            </a:lvl1pPr>
          </a:lstStyle>
          <a:p>
            <a:fld id="{7749CDD0-7D77-4D23-9A27-F361E39BA472}" type="datetime1">
              <a:rPr lang="nl-BE" smtClean="0">
                <a:solidFill>
                  <a:prstClr val="white">
                    <a:lumMod val="50000"/>
                  </a:prstClr>
                </a:solidFill>
              </a:rPr>
              <a:pPr/>
              <a:t>24/04/2026</a:t>
            </a:fld>
            <a:r>
              <a:rPr lang="nl-BE">
                <a:solidFill>
                  <a:prstClr val="white">
                    <a:lumMod val="50000"/>
                  </a:prstClr>
                </a:solidFill>
              </a:rPr>
              <a:t> </a:t>
            </a:r>
            <a:r>
              <a:rPr lang="nl-BE" b="1">
                <a:solidFill>
                  <a:prstClr val="white">
                    <a:lumMod val="50000"/>
                  </a:prstClr>
                </a:solidFill>
              </a:rPr>
              <a:t>│</a:t>
            </a:r>
            <a:fld id="{B263F6C6-2226-4286-8995-C42CB1E7C290}" type="slidenum">
              <a:rPr lang="nl-BE" smtClean="0">
                <a:solidFill>
                  <a:prstClr val="white">
                    <a:lumMod val="50000"/>
                  </a:prstClr>
                </a:solidFill>
              </a:rPr>
              <a:pPr/>
              <a:t>‹nr.›</a:t>
            </a:fld>
            <a:endParaRPr lang="nl-BE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1728000" y="756000"/>
            <a:ext cx="9888000" cy="1116000"/>
          </a:xfrm>
        </p:spPr>
        <p:txBody>
          <a:bodyPr anchor="t" anchorCtr="0"/>
          <a:lstStyle>
            <a:lvl1pPr>
              <a:defRPr>
                <a:latin typeface="FlandersArtSans-Bold" panose="00000800000000000000" pitchFamily="2" charset="0"/>
              </a:defRPr>
            </a:lvl1pPr>
          </a:lstStyle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9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1728000" y="1915200"/>
            <a:ext cx="9888000" cy="3672000"/>
          </a:xfrm>
        </p:spPr>
        <p:txBody>
          <a:bodyPr bIns="0"/>
          <a:lstStyle>
            <a:lvl1pPr marL="0" indent="0">
              <a:lnSpc>
                <a:spcPct val="90000"/>
              </a:lnSpc>
              <a:buFontTx/>
              <a:buBlip>
                <a:blip r:embed="rId2"/>
              </a:buBlip>
              <a:defRPr sz="2031">
                <a:latin typeface="FlandersArtSans-Regular" panose="00000500000000000000" pitchFamily="2" charset="0"/>
              </a:defRPr>
            </a:lvl1pPr>
            <a:lvl2pPr>
              <a:lnSpc>
                <a:spcPct val="90000"/>
              </a:lnSpc>
              <a:buSzPct val="75000"/>
              <a:buFontTx/>
              <a:buBlip>
                <a:blip r:embed="rId3"/>
              </a:buBlip>
              <a:defRPr sz="2031">
                <a:solidFill>
                  <a:schemeClr val="bg1">
                    <a:lumMod val="50000"/>
                  </a:schemeClr>
                </a:solidFill>
                <a:latin typeface="FlandersArtSans-Regular" panose="00000500000000000000" pitchFamily="2" charset="0"/>
              </a:defRPr>
            </a:lvl2pPr>
            <a:lvl3pPr>
              <a:lnSpc>
                <a:spcPct val="90000"/>
              </a:lnSpc>
              <a:buSzPct val="85000"/>
              <a:defRPr>
                <a:latin typeface="FlandersArtSans-Regular" panose="00000500000000000000" pitchFamily="2" charset="0"/>
              </a:defRPr>
            </a:lvl3pPr>
            <a:lvl4pPr>
              <a:lnSpc>
                <a:spcPct val="90000"/>
              </a:lnSpc>
              <a:defRPr>
                <a:latin typeface="FlandersArtSans-Regular" panose="00000500000000000000" pitchFamily="2" charset="0"/>
              </a:defRPr>
            </a:lvl4pPr>
            <a:lvl5pPr>
              <a:lnSpc>
                <a:spcPct val="90000"/>
              </a:lnSpc>
              <a:defRPr>
                <a:latin typeface="FlandersArtSans-Regular" panose="00000500000000000000" pitchFamily="2" charset="0"/>
              </a:defRPr>
            </a:lvl5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pic>
        <p:nvPicPr>
          <p:cNvPr id="10" name="Afbeelding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000" y="5857200"/>
            <a:ext cx="2448000" cy="714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885726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6"/>
          <p:cNvSpPr>
            <a:spLocks noGrp="1"/>
          </p:cNvSpPr>
          <p:nvPr>
            <p:ph type="sldNum" sz="quarter" idx="12"/>
          </p:nvPr>
        </p:nvSpPr>
        <p:spPr>
          <a:xfrm>
            <a:off x="9168019" y="6336001"/>
            <a:ext cx="2855495" cy="365125"/>
          </a:xfrm>
        </p:spPr>
        <p:txBody>
          <a:bodyPr/>
          <a:lstStyle>
            <a:lvl1pPr>
              <a:defRPr sz="900">
                <a:latin typeface="FlandersArtSans-Regular" panose="00000500000000000000" pitchFamily="2" charset="0"/>
              </a:defRPr>
            </a:lvl1pPr>
          </a:lstStyle>
          <a:p>
            <a:fld id="{7749CDD0-7D77-4D23-9A27-F361E39BA472}" type="datetime1">
              <a:rPr lang="nl-BE" smtClean="0"/>
              <a:pPr/>
              <a:t>24/04/2026</a:t>
            </a:fld>
            <a:r>
              <a:rPr lang="nl-BE"/>
              <a:t> </a:t>
            </a:r>
            <a:r>
              <a:rPr lang="nl-BE" b="1"/>
              <a:t>│</a:t>
            </a:r>
            <a:fld id="{B263F6C6-2226-4286-8995-C42CB1E7C290}" type="slidenum">
              <a:rPr lang="nl-BE" smtClean="0"/>
              <a:pPr/>
              <a:t>‹nr.›</a:t>
            </a:fld>
            <a:endParaRPr lang="nl-BE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1728000" y="756000"/>
            <a:ext cx="9888000" cy="1116000"/>
          </a:xfrm>
        </p:spPr>
        <p:txBody>
          <a:bodyPr anchor="t" anchorCtr="0"/>
          <a:lstStyle>
            <a:lvl1pPr>
              <a:defRPr>
                <a:latin typeface="FlandersArtSans-Bold" panose="00000800000000000000" pitchFamily="2" charset="0"/>
              </a:defRPr>
            </a:lvl1pPr>
          </a:lstStyle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9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1728000" y="1915200"/>
            <a:ext cx="9888000" cy="3672000"/>
          </a:xfrm>
        </p:spPr>
        <p:txBody>
          <a:bodyPr bIns="0"/>
          <a:lstStyle>
            <a:lvl1pPr marL="0" indent="0">
              <a:lnSpc>
                <a:spcPct val="90000"/>
              </a:lnSpc>
              <a:buFontTx/>
              <a:buBlip>
                <a:blip r:embed="rId2"/>
              </a:buBlip>
              <a:defRPr sz="2200">
                <a:latin typeface="FlandersArtSans-Regular" panose="00000500000000000000" pitchFamily="2" charset="0"/>
              </a:defRPr>
            </a:lvl1pPr>
            <a:lvl2pPr>
              <a:lnSpc>
                <a:spcPct val="90000"/>
              </a:lnSpc>
              <a:buSzPct val="75000"/>
              <a:buFontTx/>
              <a:buBlip>
                <a:blip r:embed="rId3"/>
              </a:buBlip>
              <a:defRPr sz="2200">
                <a:solidFill>
                  <a:schemeClr val="bg1">
                    <a:lumMod val="50000"/>
                  </a:schemeClr>
                </a:solidFill>
                <a:latin typeface="FlandersArtSans-Regular" panose="00000500000000000000" pitchFamily="2" charset="0"/>
              </a:defRPr>
            </a:lvl2pPr>
            <a:lvl3pPr>
              <a:lnSpc>
                <a:spcPct val="90000"/>
              </a:lnSpc>
              <a:buSzPct val="85000"/>
              <a:defRPr>
                <a:latin typeface="FlandersArtSans-Regular" panose="00000500000000000000" pitchFamily="2" charset="0"/>
              </a:defRPr>
            </a:lvl3pPr>
            <a:lvl4pPr>
              <a:lnSpc>
                <a:spcPct val="90000"/>
              </a:lnSpc>
              <a:defRPr>
                <a:latin typeface="FlandersArtSans-Regular" panose="00000500000000000000" pitchFamily="2" charset="0"/>
              </a:defRPr>
            </a:lvl4pPr>
            <a:lvl5pPr>
              <a:lnSpc>
                <a:spcPct val="90000"/>
              </a:lnSpc>
              <a:defRPr>
                <a:latin typeface="FlandersArtSans-Regular" panose="00000500000000000000" pitchFamily="2" charset="0"/>
              </a:defRPr>
            </a:lvl5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pic>
        <p:nvPicPr>
          <p:cNvPr id="10" name="Afbeelding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981" y="5862559"/>
            <a:ext cx="2175951" cy="714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756042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Rechthoek 6"/>
          <p:cNvSpPr/>
          <p:nvPr/>
        </p:nvSpPr>
        <p:spPr>
          <a:xfrm>
            <a:off x="-2" y="-1"/>
            <a:ext cx="384004" cy="6858001"/>
          </a:xfrm>
          <a:prstGeom prst="rect">
            <a:avLst/>
          </a:prstGeom>
          <a:solidFill>
            <a:srgbClr val="FFF200"/>
          </a:solidFill>
          <a:ln w="12700">
            <a:solidFill>
              <a:srgbClr val="FFF200"/>
            </a:solidFill>
            <a:miter/>
          </a:ln>
        </p:spPr>
        <p:txBody>
          <a:bodyPr lIns="45719" tIns="45719" rIns="45719" bIns="45719" anchor="ctr"/>
          <a:lstStyle/>
          <a:p>
            <a:pPr defTabSz="914367">
              <a:defRPr sz="1800">
                <a:solidFill>
                  <a:srgbClr val="FFFFFF"/>
                </a:solidFill>
                <a:latin typeface="FlandersArtSerif-Regular"/>
                <a:ea typeface="FlandersArtSerif-Regular"/>
                <a:cs typeface="FlandersArtSerif-Regular"/>
                <a:sym typeface="FlandersArtSerif-Regular"/>
              </a:defRPr>
            </a:pPr>
            <a:endParaRPr sz="1266"/>
          </a:p>
        </p:txBody>
      </p:sp>
      <p:sp>
        <p:nvSpPr>
          <p:cNvPr id="158" name="Titeltekst"/>
          <p:cNvSpPr txBox="1">
            <a:spLocks noGrp="1"/>
          </p:cNvSpPr>
          <p:nvPr>
            <p:ph type="title"/>
          </p:nvPr>
        </p:nvSpPr>
        <p:spPr>
          <a:xfrm>
            <a:off x="1727998" y="755999"/>
            <a:ext cx="9888005" cy="1116001"/>
          </a:xfrm>
          <a:prstGeom prst="rect">
            <a:avLst/>
          </a:prstGeom>
        </p:spPr>
        <p:txBody>
          <a:bodyPr lIns="0" tIns="0" rIns="0" bIns="0" anchor="t"/>
          <a:lstStyle>
            <a:lvl1pPr algn="l" defTabSz="914367">
              <a:lnSpc>
                <a:spcPts val="3797"/>
              </a:lnSpc>
              <a:defRPr sz="3656">
                <a:solidFill>
                  <a:srgbClr val="464034"/>
                </a:solidFill>
                <a:latin typeface="FlandersArtSans-Bold"/>
                <a:ea typeface="FlandersArtSans-Bold"/>
                <a:cs typeface="FlandersArtSans-Bold"/>
                <a:sym typeface="FlandersArtSans-Bold"/>
              </a:defRPr>
            </a:lvl1pPr>
          </a:lstStyle>
          <a:p>
            <a:r>
              <a:t>Titeltekst</a:t>
            </a:r>
          </a:p>
        </p:txBody>
      </p:sp>
      <p:sp>
        <p:nvSpPr>
          <p:cNvPr id="159" name="Hoofdtekst - niveau één…"/>
          <p:cNvSpPr txBox="1">
            <a:spLocks noGrp="1"/>
          </p:cNvSpPr>
          <p:nvPr>
            <p:ph type="body" idx="1"/>
          </p:nvPr>
        </p:nvSpPr>
        <p:spPr>
          <a:xfrm>
            <a:off x="1727998" y="1916140"/>
            <a:ext cx="9888005" cy="3672001"/>
          </a:xfrm>
          <a:prstGeom prst="rect">
            <a:avLst/>
          </a:prstGeom>
        </p:spPr>
        <p:txBody>
          <a:bodyPr lIns="0" tIns="0" rIns="0" bIns="0" anchor="t"/>
          <a:lstStyle>
            <a:lvl1pPr marL="164381" indent="-164381" defTabSz="914367">
              <a:lnSpc>
                <a:spcPct val="90000"/>
              </a:lnSpc>
              <a:spcBef>
                <a:spcPts val="281"/>
              </a:spcBef>
              <a:buSzPct val="90000"/>
              <a:buBlip>
                <a:blip r:embed="rId2"/>
              </a:buBlip>
              <a:defRPr sz="2109">
                <a:solidFill>
                  <a:srgbClr val="464034"/>
                </a:solidFill>
                <a:latin typeface="FlandersArtSans-Bold"/>
                <a:ea typeface="FlandersArtSans-Bold"/>
                <a:cs typeface="FlandersArtSans-Bold"/>
                <a:sym typeface="FlandersArtSans-Bold"/>
              </a:defRPr>
            </a:lvl1pPr>
            <a:lvl2pPr marL="478619" indent="-276126" defTabSz="914367">
              <a:lnSpc>
                <a:spcPct val="90000"/>
              </a:lnSpc>
              <a:spcBef>
                <a:spcPts val="281"/>
              </a:spcBef>
              <a:buSzPct val="70000"/>
              <a:buBlip>
                <a:blip r:embed="rId3"/>
              </a:buBlip>
              <a:defRPr sz="2109">
                <a:solidFill>
                  <a:srgbClr val="464034"/>
                </a:solidFill>
                <a:latin typeface="FlandersArtSans-Bold"/>
                <a:ea typeface="FlandersArtSans-Bold"/>
                <a:cs typeface="FlandersArtSans-Bold"/>
                <a:sym typeface="FlandersArtSans-Bold"/>
              </a:defRPr>
            </a:lvl2pPr>
            <a:lvl3pPr marL="708723" indent="-303738" defTabSz="914367">
              <a:lnSpc>
                <a:spcPct val="90000"/>
              </a:lnSpc>
              <a:spcBef>
                <a:spcPts val="281"/>
              </a:spcBef>
              <a:buSzPct val="90000"/>
              <a:buBlip>
                <a:blip r:embed="rId4"/>
              </a:buBlip>
              <a:defRPr sz="2109">
                <a:solidFill>
                  <a:srgbClr val="464034"/>
                </a:solidFill>
                <a:latin typeface="FlandersArtSans-Bold"/>
                <a:ea typeface="FlandersArtSans-Bold"/>
                <a:cs typeface="FlandersArtSans-Bold"/>
                <a:sym typeface="FlandersArtSans-Bold"/>
              </a:defRPr>
            </a:lvl3pPr>
            <a:lvl4pPr marL="911218" indent="-303739" defTabSz="914367">
              <a:lnSpc>
                <a:spcPct val="90000"/>
              </a:lnSpc>
              <a:spcBef>
                <a:spcPts val="281"/>
              </a:spcBef>
              <a:buSzPct val="75000"/>
              <a:buBlip>
                <a:blip r:embed="rId5"/>
              </a:buBlip>
              <a:defRPr sz="2109">
                <a:solidFill>
                  <a:srgbClr val="464034"/>
                </a:solidFill>
                <a:latin typeface="FlandersArtSans-Bold"/>
                <a:ea typeface="FlandersArtSans-Bold"/>
                <a:cs typeface="FlandersArtSans-Bold"/>
                <a:sym typeface="FlandersArtSans-Bold"/>
              </a:defRPr>
            </a:lvl4pPr>
            <a:lvl5pPr marL="1113709" indent="-303738" defTabSz="914367">
              <a:lnSpc>
                <a:spcPct val="90000"/>
              </a:lnSpc>
              <a:spcBef>
                <a:spcPts val="281"/>
              </a:spcBef>
              <a:buSzPct val="90000"/>
              <a:buBlip>
                <a:blip r:embed="rId6"/>
              </a:buBlip>
              <a:defRPr sz="2109">
                <a:solidFill>
                  <a:srgbClr val="464034"/>
                </a:solidFill>
                <a:latin typeface="FlandersArtSans-Bold"/>
                <a:ea typeface="FlandersArtSans-Bold"/>
                <a:cs typeface="FlandersArtSans-Bold"/>
                <a:sym typeface="FlandersArtSans-Bold"/>
              </a:defRPr>
            </a:lvl5pPr>
          </a:lstStyle>
          <a:p>
            <a:r>
              <a:t>Hoofdtekst - niveau één</a:t>
            </a:r>
          </a:p>
          <a:p>
            <a:pPr lvl="1"/>
            <a:r>
              <a:t>Hoofdtekst - niveau twee</a:t>
            </a:r>
          </a:p>
          <a:p>
            <a:pPr lvl="2"/>
            <a:r>
              <a:t>Hoofdtekst - niveau drie</a:t>
            </a:r>
          </a:p>
          <a:p>
            <a:pPr lvl="3"/>
            <a:r>
              <a:t>Hoofdtekst - niveau vier</a:t>
            </a:r>
          </a:p>
          <a:p>
            <a:pPr lvl="4"/>
            <a:r>
              <a:t>Hoofdtekst - niveau vijf</a:t>
            </a:r>
          </a:p>
        </p:txBody>
      </p:sp>
      <p:sp>
        <p:nvSpPr>
          <p:cNvPr id="160" name="Dianummer"/>
          <p:cNvSpPr txBox="1">
            <a:spLocks noGrp="1"/>
          </p:cNvSpPr>
          <p:nvPr>
            <p:ph type="sldNum" sz="quarter" idx="2"/>
          </p:nvPr>
        </p:nvSpPr>
        <p:spPr>
          <a:xfrm>
            <a:off x="11008082" y="6520656"/>
            <a:ext cx="345719" cy="261103"/>
          </a:xfrm>
          <a:prstGeom prst="rect">
            <a:avLst/>
          </a:prstGeom>
        </p:spPr>
        <p:txBody>
          <a:bodyPr lIns="65022" tIns="65022" rIns="65022" bIns="65022" anchor="ctr"/>
          <a:lstStyle>
            <a:lvl1pPr algn="r" defTabSz="914367">
              <a:defRPr>
                <a:solidFill>
                  <a:srgbClr val="FFFFFF"/>
                </a:solidFill>
                <a:latin typeface="FlandersArtSans-Regular"/>
                <a:ea typeface="FlandersArtSans-Regular"/>
                <a:cs typeface="FlandersArtSans-Regular"/>
                <a:sym typeface="FlandersArtSans-Regular"/>
              </a:defRPr>
            </a:lvl1pPr>
          </a:lstStyle>
          <a:p>
            <a:fld id="{86CB4B4D-7CA3-9044-876B-883B54F8677D}" type="slidenum"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5418146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elpag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95C5BE4F-2A78-4816-845B-9A7B10A0322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0" y="3403260"/>
            <a:ext cx="12187024" cy="3454740"/>
          </a:xfrm>
          <a:prstGeom prst="rect">
            <a:avLst/>
          </a:prstGeom>
        </p:spPr>
      </p:pic>
      <p:sp>
        <p:nvSpPr>
          <p:cNvPr id="10" name="TextBox 6">
            <a:extLst>
              <a:ext uri="{FF2B5EF4-FFF2-40B4-BE49-F238E27FC236}">
                <a16:creationId xmlns:a16="http://schemas.microsoft.com/office/drawing/2014/main" id="{8E4BEEBC-632C-4936-A2BF-0E943EAE320A}"/>
              </a:ext>
            </a:extLst>
          </p:cNvPr>
          <p:cNvSpPr txBox="1"/>
          <p:nvPr userDrawn="1"/>
        </p:nvSpPr>
        <p:spPr>
          <a:xfrm>
            <a:off x="8236401" y="5826699"/>
            <a:ext cx="3600000" cy="720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/>
            <a:r>
              <a:rPr lang="nl-BE" sz="1600">
                <a:solidFill>
                  <a:srgbClr val="373737"/>
                </a:solidFill>
                <a:latin typeface="FlandersArtSans-Bold" panose="00000500000000000000" pitchFamily="50" charset="0"/>
                <a:hlinkClick r:id="rId3" action="ppaction://hlinkfile"/>
              </a:rPr>
              <a:t>lokaalbestuur.vlaanderen.be</a:t>
            </a:r>
            <a:r>
              <a:rPr lang="nl-BE" sz="1600">
                <a:solidFill>
                  <a:srgbClr val="373737"/>
                </a:solidFill>
                <a:latin typeface="FlandersArtSans-Bold" panose="00000500000000000000" pitchFamily="50" charset="0"/>
              </a:rPr>
              <a:t> </a:t>
            </a:r>
            <a:endParaRPr lang="en-US" sz="1600" b="1">
              <a:solidFill>
                <a:srgbClr val="373737"/>
              </a:solidFill>
              <a:latin typeface="FlandersArtSans-Bold" panose="00000500000000000000" pitchFamily="50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905F8F9-A082-4A0F-8A07-9AA5C01FC1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297642"/>
            <a:ext cx="12193200" cy="2715558"/>
          </a:xfrm>
        </p:spPr>
        <p:txBody>
          <a:bodyPr lIns="720000" tIns="360000" rIns="720000"/>
          <a:lstStyle/>
          <a:p>
            <a:r>
              <a:rPr lang="nl-NL"/>
              <a:t>Klik om stijl te bewerken</a:t>
            </a:r>
            <a:endParaRPr lang="nl-BE"/>
          </a:p>
        </p:txBody>
      </p:sp>
      <p:pic>
        <p:nvPicPr>
          <p:cNvPr id="7" name="Graphic 6">
            <a:hlinkClick r:id="" action="ppaction://noaction"/>
            <a:extLst>
              <a:ext uri="{FF2B5EF4-FFF2-40B4-BE49-F238E27FC236}">
                <a16:creationId xmlns:a16="http://schemas.microsoft.com/office/drawing/2014/main" id="{36251939-B215-42C6-808C-B81EA9BF274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0725" y="5956050"/>
            <a:ext cx="1311430" cy="54000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EEE0B56E-E745-4034-9551-E7769C5F32F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13200" y="540058"/>
            <a:ext cx="1980000" cy="768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615183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de-DE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de-DE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953BDC-9EAE-49FE-9892-958C9F845175}" type="datetimeFigureOut">
              <a:rPr lang="de-DE" smtClean="0"/>
              <a:t>24.04.2026</a:t>
            </a:fld>
            <a:endParaRPr lang="de-DE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D814C8-F66B-4915-9FEC-D62A1DED085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6879247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4337E0-B719-3C42-9972-F4F10B3FA1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B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1A2949-BCF1-F345-A4B2-1F889D1640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ADD68-7300-7649-BD36-1DC293CB149D}" type="datetimeFigureOut">
              <a:rPr lang="en-BE" smtClean="0"/>
              <a:t>04/24/2026</a:t>
            </a:fld>
            <a:endParaRPr lang="en-B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D33E02-2E60-834E-B2B3-D8FCD33A39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4A392A-0192-2D41-B32F-558EC00D3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7AA21A-BA86-214F-A455-95D8A65CFEFA}" type="slidenum">
              <a:rPr lang="en-BE" smtClean="0"/>
              <a:t>‹nr.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29087771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picture containing floor&#10;&#10;Description automatically generated">
            <a:extLst>
              <a:ext uri="{FF2B5EF4-FFF2-40B4-BE49-F238E27FC236}">
                <a16:creationId xmlns:a16="http://schemas.microsoft.com/office/drawing/2014/main" id="{4FA21D48-A6BA-4F6D-AABB-7D99643D57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00" t="8342" r="43477" b="33822"/>
          <a:stretch>
            <a:fillRect/>
          </a:stretch>
        </p:blipFill>
        <p:spPr>
          <a:xfrm>
            <a:off x="3192146" y="-13980"/>
            <a:ext cx="8999854" cy="6871980"/>
          </a:xfrm>
          <a:custGeom>
            <a:avLst/>
            <a:gdLst>
              <a:gd name="connsiteX0" fmla="*/ 0 w 8999854"/>
              <a:gd name="connsiteY0" fmla="*/ 0 h 6871980"/>
              <a:gd name="connsiteX1" fmla="*/ 6445616 w 8999854"/>
              <a:gd name="connsiteY1" fmla="*/ 0 h 6871980"/>
              <a:gd name="connsiteX2" fmla="*/ 8999854 w 8999854"/>
              <a:gd name="connsiteY2" fmla="*/ 1787025 h 6871980"/>
              <a:gd name="connsiteX3" fmla="*/ 8999854 w 8999854"/>
              <a:gd name="connsiteY3" fmla="*/ 5085019 h 6871980"/>
              <a:gd name="connsiteX4" fmla="*/ 6443798 w 8999854"/>
              <a:gd name="connsiteY4" fmla="*/ 6871980 h 6871980"/>
              <a:gd name="connsiteX5" fmla="*/ 6830 w 8999854"/>
              <a:gd name="connsiteY5" fmla="*/ 6871980 h 6871980"/>
              <a:gd name="connsiteX6" fmla="*/ 4911484 w 8999854"/>
              <a:gd name="connsiteY6" fmla="*/ 3436637 h 6871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99854" h="6871980">
                <a:moveTo>
                  <a:pt x="0" y="0"/>
                </a:moveTo>
                <a:lnTo>
                  <a:pt x="6445616" y="0"/>
                </a:lnTo>
                <a:lnTo>
                  <a:pt x="8999854" y="1787025"/>
                </a:lnTo>
                <a:lnTo>
                  <a:pt x="8999854" y="5085019"/>
                </a:lnTo>
                <a:lnTo>
                  <a:pt x="6443798" y="6871980"/>
                </a:lnTo>
                <a:lnTo>
                  <a:pt x="6830" y="6871980"/>
                </a:lnTo>
                <a:lnTo>
                  <a:pt x="4911484" y="3436637"/>
                </a:lnTo>
                <a:close/>
              </a:path>
            </a:pathLst>
          </a:cu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D3318853-BD0A-4D4E-A23C-6F522A62419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524268" y="2260633"/>
            <a:ext cx="5827945" cy="2336733"/>
            <a:chOff x="5283199" y="2561298"/>
            <a:chExt cx="5764429" cy="2311266"/>
          </a:xfrm>
          <a:solidFill>
            <a:schemeClr val="accent1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1A10232D-0449-4823-B949-BB1487F93B15}"/>
                </a:ext>
              </a:extLst>
            </p:cNvPr>
            <p:cNvSpPr/>
            <p:nvPr/>
          </p:nvSpPr>
          <p:spPr>
            <a:xfrm>
              <a:off x="5283199" y="2561298"/>
              <a:ext cx="2773520" cy="2311266"/>
            </a:xfrm>
            <a:custGeom>
              <a:avLst/>
              <a:gdLst>
                <a:gd name="connsiteX0" fmla="*/ 2773520 w 2773520"/>
                <a:gd name="connsiteY0" fmla="*/ 141189 h 2311266"/>
                <a:gd name="connsiteX1" fmla="*/ 1983425 w 2773520"/>
                <a:gd name="connsiteY1" fmla="*/ 2311266 h 2311266"/>
                <a:gd name="connsiteX2" fmla="*/ 1596567 w 2773520"/>
                <a:gd name="connsiteY2" fmla="*/ 2170077 h 2311266"/>
                <a:gd name="connsiteX3" fmla="*/ 2386380 w 2773520"/>
                <a:gd name="connsiteY3" fmla="*/ 0 h 2311266"/>
                <a:gd name="connsiteX4" fmla="*/ 2773520 w 2773520"/>
                <a:gd name="connsiteY4" fmla="*/ 141189 h 2311266"/>
                <a:gd name="connsiteX5" fmla="*/ 1073603 w 2773520"/>
                <a:gd name="connsiteY5" fmla="*/ 497268 h 2311266"/>
                <a:gd name="connsiteX6" fmla="*/ 1312777 w 2773520"/>
                <a:gd name="connsiteY6" fmla="*/ 831886 h 2311266"/>
                <a:gd name="connsiteX7" fmla="*/ 717523 w 2773520"/>
                <a:gd name="connsiteY7" fmla="*/ 1248394 h 2311266"/>
                <a:gd name="connsiteX8" fmla="*/ 1314189 w 2773520"/>
                <a:gd name="connsiteY8" fmla="*/ 1666314 h 2311266"/>
                <a:gd name="connsiteX9" fmla="*/ 1076426 w 2773520"/>
                <a:gd name="connsiteY9" fmla="*/ 2000933 h 2311266"/>
                <a:gd name="connsiteX10" fmla="*/ 0 w 2773520"/>
                <a:gd name="connsiteY10" fmla="*/ 1248394 h 2311266"/>
                <a:gd name="connsiteX11" fmla="*/ 1073603 w 2773520"/>
                <a:gd name="connsiteY11" fmla="*/ 497268 h 2311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73520" h="2311266">
                  <a:moveTo>
                    <a:pt x="2773520" y="141189"/>
                  </a:moveTo>
                  <a:lnTo>
                    <a:pt x="1983425" y="2311266"/>
                  </a:lnTo>
                  <a:lnTo>
                    <a:pt x="1596567" y="2170077"/>
                  </a:lnTo>
                  <a:lnTo>
                    <a:pt x="2386380" y="0"/>
                  </a:lnTo>
                  <a:lnTo>
                    <a:pt x="2773520" y="141189"/>
                  </a:lnTo>
                  <a:close/>
                  <a:moveTo>
                    <a:pt x="1073603" y="497268"/>
                  </a:moveTo>
                  <a:lnTo>
                    <a:pt x="1312777" y="831886"/>
                  </a:lnTo>
                  <a:lnTo>
                    <a:pt x="717523" y="1248394"/>
                  </a:lnTo>
                  <a:lnTo>
                    <a:pt x="1314189" y="1666314"/>
                  </a:lnTo>
                  <a:lnTo>
                    <a:pt x="1076426" y="2000933"/>
                  </a:lnTo>
                  <a:lnTo>
                    <a:pt x="0" y="1248394"/>
                  </a:lnTo>
                  <a:lnTo>
                    <a:pt x="1073603" y="497268"/>
                  </a:lnTo>
                  <a:close/>
                </a:path>
              </a:pathLst>
            </a:custGeom>
            <a:grpFill/>
            <a:ln w="282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1200" cap="none" spc="0" normalizeH="0" baseline="0" noProof="0">
                <a:ln>
                  <a:noFill/>
                </a:ln>
                <a:solidFill>
                  <a:srgbClr val="373636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6AFAFFD-068B-411B-9924-4347AE8245BE}"/>
                </a:ext>
              </a:extLst>
            </p:cNvPr>
            <p:cNvSpPr/>
            <p:nvPr/>
          </p:nvSpPr>
          <p:spPr>
            <a:xfrm>
              <a:off x="9733439" y="2965098"/>
              <a:ext cx="1314189" cy="1503664"/>
            </a:xfrm>
            <a:custGeom>
              <a:avLst/>
              <a:gdLst>
                <a:gd name="connsiteX0" fmla="*/ 0 w 1314189"/>
                <a:gd name="connsiteY0" fmla="*/ 1169046 h 1503664"/>
                <a:gd name="connsiteX1" fmla="*/ 596666 w 1314189"/>
                <a:gd name="connsiteY1" fmla="*/ 751126 h 1503664"/>
                <a:gd name="connsiteX2" fmla="*/ 1412 w 1314189"/>
                <a:gd name="connsiteY2" fmla="*/ 334618 h 1503664"/>
                <a:gd name="connsiteX3" fmla="*/ 240586 w 1314189"/>
                <a:gd name="connsiteY3" fmla="*/ 0 h 1503664"/>
                <a:gd name="connsiteX4" fmla="*/ 1314189 w 1314189"/>
                <a:gd name="connsiteY4" fmla="*/ 751126 h 1503664"/>
                <a:gd name="connsiteX5" fmla="*/ 237763 w 1314189"/>
                <a:gd name="connsiteY5" fmla="*/ 1503665 h 1503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14189" h="1503664">
                  <a:moveTo>
                    <a:pt x="0" y="1169046"/>
                  </a:moveTo>
                  <a:lnTo>
                    <a:pt x="596666" y="751126"/>
                  </a:lnTo>
                  <a:lnTo>
                    <a:pt x="1412" y="334618"/>
                  </a:lnTo>
                  <a:lnTo>
                    <a:pt x="240586" y="0"/>
                  </a:lnTo>
                  <a:lnTo>
                    <a:pt x="1314189" y="751126"/>
                  </a:lnTo>
                  <a:lnTo>
                    <a:pt x="237763" y="1503665"/>
                  </a:lnTo>
                  <a:close/>
                </a:path>
              </a:pathLst>
            </a:custGeom>
            <a:grpFill/>
            <a:ln w="282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1200" cap="none" spc="0" normalizeH="0" baseline="0" noProof="0">
                <a:ln>
                  <a:noFill/>
                </a:ln>
                <a:solidFill>
                  <a:srgbClr val="373636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14" name="Picture 13" descr="A picture containing text&#10;&#10;Description automatically generated">
            <a:extLst>
              <a:ext uri="{FF2B5EF4-FFF2-40B4-BE49-F238E27FC236}">
                <a16:creationId xmlns:a16="http://schemas.microsoft.com/office/drawing/2014/main" id="{1EC1DC95-204C-4D90-AE62-E3AD462DE1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26308" y="5566968"/>
            <a:ext cx="3452102" cy="86889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BD7A1FC-C9B7-4EF4-8B3E-1788213793E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9787" y="1466457"/>
            <a:ext cx="4137327" cy="2071868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4800" b="1">
                <a:solidFill>
                  <a:schemeClr val="tx1"/>
                </a:solidFill>
              </a:defRPr>
            </a:lvl1pPr>
          </a:lstStyle>
          <a:p>
            <a:r>
              <a:rPr lang="nl-NL"/>
              <a:t>Titel</a:t>
            </a:r>
            <a:endParaRPr lang="nl-BE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F3EF43F9-C1BE-4A9F-B44B-5A3FC35C4C6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787" y="3562950"/>
            <a:ext cx="4137327" cy="1455738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pPr lvl="0"/>
            <a:r>
              <a:rPr lang="en-US"/>
              <a:t>ONDERTITEL</a:t>
            </a:r>
          </a:p>
        </p:txBody>
      </p:sp>
      <p:sp>
        <p:nvSpPr>
          <p:cNvPr id="17" name="Tijdelijke aanduiding voor dianummer 5">
            <a:extLst>
              <a:ext uri="{FF2B5EF4-FFF2-40B4-BE49-F238E27FC236}">
                <a16:creationId xmlns:a16="http://schemas.microsoft.com/office/drawing/2014/main" id="{30DBCDA1-1C65-4A71-BA42-55F5DD4C58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14012" y="6344982"/>
            <a:ext cx="838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 b="1">
                <a:noFill/>
                <a:latin typeface="+mj-lt"/>
              </a:defRPr>
            </a:lvl1pPr>
          </a:lstStyle>
          <a:p>
            <a:fld id="{1EABE038-A425-4CC0-917A-1DC3ED725B2E}" type="slidenum">
              <a:rPr lang="nl-BE" smtClean="0"/>
              <a:pPr/>
              <a:t>‹nr.›</a:t>
            </a:fld>
            <a:endParaRPr lang="nl-BE"/>
          </a:p>
        </p:txBody>
      </p:sp>
      <p:pic>
        <p:nvPicPr>
          <p:cNvPr id="10" name="Graphic 9">
            <a:hlinkClick r:id="" action="ppaction://noaction"/>
            <a:extLst>
              <a:ext uri="{FF2B5EF4-FFF2-40B4-BE49-F238E27FC236}">
                <a16:creationId xmlns:a16="http://schemas.microsoft.com/office/drawing/2014/main" id="{29E9C7E3-4352-4993-9EF0-E3A36309E73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57388" y="5688840"/>
            <a:ext cx="1518229" cy="625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0013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dianummer 5">
            <a:extLst>
              <a:ext uri="{FF2B5EF4-FFF2-40B4-BE49-F238E27FC236}">
                <a16:creationId xmlns:a16="http://schemas.microsoft.com/office/drawing/2014/main" id="{47D6E984-9E7D-4BA3-B3F3-986CC7F1D6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14012" y="6344982"/>
            <a:ext cx="838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 b="1">
                <a:noFill/>
                <a:latin typeface="+mj-lt"/>
              </a:defRPr>
            </a:lvl1pPr>
          </a:lstStyle>
          <a:p>
            <a:fld id="{1EABE038-A425-4CC0-917A-1DC3ED725B2E}" type="slidenum">
              <a:rPr lang="nl-BE" smtClean="0"/>
              <a:pPr/>
              <a:t>‹nr.›</a:t>
            </a:fld>
            <a:endParaRPr lang="nl-BE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869AC77-F5E2-4205-93FD-B5CEDCE245C5}"/>
              </a:ext>
            </a:extLst>
          </p:cNvPr>
          <p:cNvSpPr/>
          <p:nvPr userDrawn="1"/>
        </p:nvSpPr>
        <p:spPr>
          <a:xfrm>
            <a:off x="0" y="0"/>
            <a:ext cx="8237622" cy="6857999"/>
          </a:xfrm>
          <a:custGeom>
            <a:avLst/>
            <a:gdLst>
              <a:gd name="connsiteX0" fmla="*/ 0 w 8237622"/>
              <a:gd name="connsiteY0" fmla="*/ 0 h 6857999"/>
              <a:gd name="connsiteX1" fmla="*/ 5883438 w 8237622"/>
              <a:gd name="connsiteY1" fmla="*/ 0 h 6857999"/>
              <a:gd name="connsiteX2" fmla="*/ 8237622 w 8237622"/>
              <a:gd name="connsiteY2" fmla="*/ 6857999 h 6857999"/>
              <a:gd name="connsiteX3" fmla="*/ 0 w 8237622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37622" h="6857999">
                <a:moveTo>
                  <a:pt x="0" y="0"/>
                </a:moveTo>
                <a:lnTo>
                  <a:pt x="5883438" y="0"/>
                </a:lnTo>
                <a:lnTo>
                  <a:pt x="8237622" y="6857999"/>
                </a:lnTo>
                <a:lnTo>
                  <a:pt x="0" y="6857999"/>
                </a:lnTo>
                <a:close/>
              </a:path>
            </a:pathLst>
          </a:custGeom>
          <a:solidFill>
            <a:srgbClr val="FF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824B98A-4944-4791-8FF5-6261333FFD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883520" y="237"/>
            <a:ext cx="6308480" cy="6857762"/>
          </a:xfrm>
          <a:custGeom>
            <a:avLst/>
            <a:gdLst>
              <a:gd name="connsiteX0" fmla="*/ 0 w 6308480"/>
              <a:gd name="connsiteY0" fmla="*/ 0 h 6857762"/>
              <a:gd name="connsiteX1" fmla="*/ 6300924 w 6308480"/>
              <a:gd name="connsiteY1" fmla="*/ 2727 h 6857762"/>
              <a:gd name="connsiteX2" fmla="*/ 6308480 w 6308480"/>
              <a:gd name="connsiteY2" fmla="*/ 6857762 h 6857762"/>
              <a:gd name="connsiteX3" fmla="*/ 2354102 w 6308480"/>
              <a:gd name="connsiteY3" fmla="*/ 6857762 h 685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08480" h="6857762">
                <a:moveTo>
                  <a:pt x="0" y="0"/>
                </a:moveTo>
                <a:lnTo>
                  <a:pt x="6300924" y="2727"/>
                </a:lnTo>
                <a:cubicBezTo>
                  <a:pt x="6303442" y="2283102"/>
                  <a:pt x="6305962" y="4577387"/>
                  <a:pt x="6308480" y="6857762"/>
                </a:cubicBezTo>
                <a:lnTo>
                  <a:pt x="2354102" y="6857762"/>
                </a:ln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err="1"/>
              <a:t>Klik</a:t>
            </a:r>
            <a:r>
              <a:rPr lang="en-US"/>
              <a:t> op </a:t>
            </a:r>
            <a:r>
              <a:rPr lang="en-US" err="1"/>
              <a:t>icoon</a:t>
            </a:r>
            <a:r>
              <a:rPr lang="en-US"/>
              <a:t> </a:t>
            </a:r>
            <a:r>
              <a:rPr lang="en-US" err="1"/>
              <a:t>voor</a:t>
            </a:r>
            <a:r>
              <a:rPr lang="en-US"/>
              <a:t> </a:t>
            </a:r>
            <a:r>
              <a:rPr lang="en-US" err="1"/>
              <a:t>foto</a:t>
            </a:r>
            <a:r>
              <a:rPr lang="en-US"/>
              <a:t> (min </a:t>
            </a:r>
            <a:r>
              <a:rPr lang="nl-BE"/>
              <a:t>resolutie </a:t>
            </a:r>
            <a:r>
              <a:rPr lang="en-US"/>
              <a:t>72 DPI</a:t>
            </a:r>
            <a:r>
              <a:rPr lang="nl-BE"/>
              <a:t>)</a:t>
            </a: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AA6B26EB-8EC5-48E2-BD48-A8DC394BE7A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9789" y="1258113"/>
            <a:ext cx="5256212" cy="2071868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4800" b="1">
                <a:solidFill>
                  <a:schemeClr val="tx1"/>
                </a:solidFill>
              </a:defRPr>
            </a:lvl1pPr>
          </a:lstStyle>
          <a:p>
            <a:r>
              <a:rPr lang="nl-NL"/>
              <a:t>Titel</a:t>
            </a:r>
            <a:endParaRPr lang="nl-BE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6F182A54-4BEE-4AF0-9435-44D0360326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9789" y="3354606"/>
            <a:ext cx="5256212" cy="1455738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ONDERTITEL</a:t>
            </a:r>
          </a:p>
        </p:txBody>
      </p:sp>
      <p:pic>
        <p:nvPicPr>
          <p:cNvPr id="8" name="Picture 13" descr="A picture containing text&#10;&#10;Description automatically generated">
            <a:extLst>
              <a:ext uri="{FF2B5EF4-FFF2-40B4-BE49-F238E27FC236}">
                <a16:creationId xmlns:a16="http://schemas.microsoft.com/office/drawing/2014/main" id="{74F5DB9B-F71C-4C80-A11B-948EA52094A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8189"/>
          <a:stretch/>
        </p:blipFill>
        <p:spPr>
          <a:xfrm>
            <a:off x="4472246" y="5555764"/>
            <a:ext cx="1788563" cy="868896"/>
          </a:xfrm>
          <a:prstGeom prst="rect">
            <a:avLst/>
          </a:prstGeom>
        </p:spPr>
      </p:pic>
      <p:pic>
        <p:nvPicPr>
          <p:cNvPr id="9" name="Graphic 8">
            <a:hlinkClick r:id="" action="ppaction://noaction"/>
            <a:extLst>
              <a:ext uri="{FF2B5EF4-FFF2-40B4-BE49-F238E27FC236}">
                <a16:creationId xmlns:a16="http://schemas.microsoft.com/office/drawing/2014/main" id="{B30083D5-2C8A-49E8-A34F-7CD40B76FB2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9788" y="5677636"/>
            <a:ext cx="1518229" cy="625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0635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ssenTitel + F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afbeelding 5">
            <a:extLst>
              <a:ext uri="{FF2B5EF4-FFF2-40B4-BE49-F238E27FC236}">
                <a16:creationId xmlns:a16="http://schemas.microsoft.com/office/drawing/2014/main" id="{CB5FAE03-95F2-4223-8FC6-421130D4435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39061" y="0"/>
            <a:ext cx="11952939" cy="6858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67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err="1"/>
              <a:t>Klik</a:t>
            </a:r>
            <a:r>
              <a:rPr lang="en-US"/>
              <a:t> op </a:t>
            </a:r>
            <a:r>
              <a:rPr lang="en-US" err="1"/>
              <a:t>icoon</a:t>
            </a:r>
            <a:r>
              <a:rPr lang="en-US"/>
              <a:t> </a:t>
            </a:r>
            <a:r>
              <a:rPr lang="en-US" err="1"/>
              <a:t>voor</a:t>
            </a:r>
            <a:r>
              <a:rPr lang="en-US"/>
              <a:t> </a:t>
            </a:r>
            <a:r>
              <a:rPr lang="en-US" err="1"/>
              <a:t>foto</a:t>
            </a:r>
            <a:r>
              <a:rPr lang="en-US"/>
              <a:t> (min </a:t>
            </a:r>
            <a:r>
              <a:rPr lang="nl-BE"/>
              <a:t>resolutie </a:t>
            </a:r>
            <a:r>
              <a:rPr lang="en-US"/>
              <a:t>72 DPI</a:t>
            </a:r>
            <a:r>
              <a:rPr lang="nl-BE"/>
              <a:t>)</a:t>
            </a:r>
          </a:p>
        </p:txBody>
      </p:sp>
      <p:sp>
        <p:nvSpPr>
          <p:cNvPr id="3" name="Tijdelijke aanduiding voor tekst 3">
            <a:extLst>
              <a:ext uri="{FF2B5EF4-FFF2-40B4-BE49-F238E27FC236}">
                <a16:creationId xmlns:a16="http://schemas.microsoft.com/office/drawing/2014/main" id="{C3CEDB31-424E-4E78-B055-9D8DABF577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6401" y="4358640"/>
            <a:ext cx="7065601" cy="1372769"/>
          </a:xfrm>
          <a:solidFill>
            <a:srgbClr val="FFEB00"/>
          </a:solidFill>
        </p:spPr>
        <p:txBody>
          <a:bodyPr lIns="216000" tIns="216000" rIns="792000" bIns="216000" anchor="ctr">
            <a:normAutofit/>
          </a:bodyPr>
          <a:lstStyle>
            <a:lvl1pPr marL="0" indent="0" algn="l" defTabSz="914377" rtl="0" eaLnBrk="1" latinLnBrk="0" hangingPunct="1">
              <a:buFontTx/>
              <a:buNone/>
              <a:defRPr lang="nl-NL" sz="4800" b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0" indent="0" algn="l" defTabSz="914377" rtl="0" eaLnBrk="1" latinLnBrk="0" hangingPunct="1">
              <a:buFontTx/>
              <a:buNone/>
              <a:defRPr lang="nl-NL" sz="3733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7" rtl="0" eaLnBrk="1" latinLnBrk="0" hangingPunct="1">
              <a:buFontTx/>
              <a:buNone/>
              <a:defRPr lang="nl-NL" sz="3733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77" rtl="0" eaLnBrk="1" latinLnBrk="0" hangingPunct="1">
              <a:buFontTx/>
              <a:buNone/>
              <a:defRPr lang="nl-NL" sz="3733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77" rtl="0" eaLnBrk="1" latinLnBrk="0" hangingPunct="1">
              <a:buFontTx/>
              <a:buNone/>
              <a:defRPr lang="nl-BE" sz="37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nl-NL"/>
              <a:t>Subtitel</a:t>
            </a:r>
            <a:endParaRPr lang="nl-BE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9BFD846F-A868-446F-BAFF-61F80655D1C2}"/>
              </a:ext>
            </a:extLst>
          </p:cNvPr>
          <p:cNvSpPr/>
          <p:nvPr userDrawn="1"/>
        </p:nvSpPr>
        <p:spPr>
          <a:xfrm>
            <a:off x="1" y="0"/>
            <a:ext cx="239059" cy="6858000"/>
          </a:xfrm>
          <a:prstGeom prst="rect">
            <a:avLst/>
          </a:prstGeom>
          <a:solidFill>
            <a:srgbClr val="FF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2400"/>
          </a:p>
        </p:txBody>
      </p:sp>
      <p:sp>
        <p:nvSpPr>
          <p:cNvPr id="5" name="Tijdelijke aanduiding voor dianummer 5">
            <a:extLst>
              <a:ext uri="{FF2B5EF4-FFF2-40B4-BE49-F238E27FC236}">
                <a16:creationId xmlns:a16="http://schemas.microsoft.com/office/drawing/2014/main" id="{DFAF4955-2C26-4D99-A507-76ED35E0B5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14012" y="6344982"/>
            <a:ext cx="838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 b="1">
                <a:noFill/>
                <a:latin typeface="+mj-lt"/>
              </a:defRPr>
            </a:lvl1pPr>
          </a:lstStyle>
          <a:p>
            <a:fld id="{1EABE038-A425-4CC0-917A-1DC3ED725B2E}" type="slidenum">
              <a:rPr lang="nl-BE" smtClean="0"/>
              <a:pPr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215959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ssenTitel Patro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CBFC7578-D2D4-4FD7-94D4-249E9425DBA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-2" y="1"/>
            <a:ext cx="12192003" cy="6858000"/>
            <a:chOff x="705255" y="97277"/>
            <a:chExt cx="5836597" cy="3283085"/>
          </a:xfrm>
          <a:noFill/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57D20F1A-942E-467D-8FEB-0AB9D32F865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rcRect l="45731" t="42477" r="51216" b="51808"/>
            <a:stretch/>
          </p:blipFill>
          <p:spPr>
            <a:xfrm>
              <a:off x="705255" y="97277"/>
              <a:ext cx="5836597" cy="3283084"/>
            </a:xfrm>
            <a:prstGeom prst="rect">
              <a:avLst/>
            </a:prstGeom>
          </p:spPr>
        </p:pic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EF2BBE1E-1590-446B-8050-39CE8A2F4E2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l="48318" t="42477" r="48629" b="51808"/>
            <a:stretch/>
          </p:blipFill>
          <p:spPr>
            <a:xfrm flipH="1">
              <a:off x="705255" y="97277"/>
              <a:ext cx="5836597" cy="3283085"/>
            </a:xfrm>
            <a:prstGeom prst="rect">
              <a:avLst/>
            </a:prstGeom>
          </p:spPr>
        </p:pic>
      </p:grpSp>
      <p:sp>
        <p:nvSpPr>
          <p:cNvPr id="3" name="Tijdelijke aanduiding voor tekst 3">
            <a:extLst>
              <a:ext uri="{FF2B5EF4-FFF2-40B4-BE49-F238E27FC236}">
                <a16:creationId xmlns:a16="http://schemas.microsoft.com/office/drawing/2014/main" id="{C3CEDB31-424E-4E78-B055-9D8DABF577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6401" y="4358640"/>
            <a:ext cx="7065601" cy="1372769"/>
          </a:xfrm>
          <a:solidFill>
            <a:srgbClr val="FFEB00"/>
          </a:solidFill>
        </p:spPr>
        <p:txBody>
          <a:bodyPr lIns="216000" tIns="216000" rIns="792000" bIns="216000" anchor="ctr">
            <a:normAutofit/>
          </a:bodyPr>
          <a:lstStyle>
            <a:lvl1pPr marL="0" indent="0" algn="l" defTabSz="914377" rtl="0" eaLnBrk="1" latinLnBrk="0" hangingPunct="1">
              <a:buFontTx/>
              <a:buNone/>
              <a:defRPr lang="nl-NL" sz="4800" b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0" indent="0" algn="l" defTabSz="914377" rtl="0" eaLnBrk="1" latinLnBrk="0" hangingPunct="1">
              <a:buFontTx/>
              <a:buNone/>
              <a:defRPr lang="nl-NL" sz="3733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7" rtl="0" eaLnBrk="1" latinLnBrk="0" hangingPunct="1">
              <a:buFontTx/>
              <a:buNone/>
              <a:defRPr lang="nl-NL" sz="3733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77" rtl="0" eaLnBrk="1" latinLnBrk="0" hangingPunct="1">
              <a:buFontTx/>
              <a:buNone/>
              <a:defRPr lang="nl-NL" sz="3733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77" rtl="0" eaLnBrk="1" latinLnBrk="0" hangingPunct="1">
              <a:buFontTx/>
              <a:buNone/>
              <a:defRPr lang="nl-BE" sz="37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nl-NL"/>
              <a:t>Subtitel</a:t>
            </a:r>
            <a:endParaRPr lang="nl-BE"/>
          </a:p>
        </p:txBody>
      </p:sp>
      <p:sp>
        <p:nvSpPr>
          <p:cNvPr id="6" name="Rechthoek 6">
            <a:extLst>
              <a:ext uri="{FF2B5EF4-FFF2-40B4-BE49-F238E27FC236}">
                <a16:creationId xmlns:a16="http://schemas.microsoft.com/office/drawing/2014/main" id="{E423B54A-434E-4870-B2F2-5857F82B4E2C}"/>
              </a:ext>
            </a:extLst>
          </p:cNvPr>
          <p:cNvSpPr/>
          <p:nvPr userDrawn="1"/>
        </p:nvSpPr>
        <p:spPr>
          <a:xfrm>
            <a:off x="0" y="0"/>
            <a:ext cx="219456" cy="6858000"/>
          </a:xfrm>
          <a:prstGeom prst="rect">
            <a:avLst/>
          </a:prstGeom>
          <a:solidFill>
            <a:srgbClr val="FF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7" name="Tijdelijke aanduiding voor dianummer 5">
            <a:extLst>
              <a:ext uri="{FF2B5EF4-FFF2-40B4-BE49-F238E27FC236}">
                <a16:creationId xmlns:a16="http://schemas.microsoft.com/office/drawing/2014/main" id="{EC89C4FA-B0E4-4823-BF2A-0719B05069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14012" y="6344982"/>
            <a:ext cx="838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 b="1">
                <a:noFill/>
                <a:latin typeface="+mj-lt"/>
              </a:defRPr>
            </a:lvl1pPr>
          </a:lstStyle>
          <a:p>
            <a:fld id="{1EABE038-A425-4CC0-917A-1DC3ED725B2E}" type="slidenum">
              <a:rPr lang="nl-BE" smtClean="0"/>
              <a:pPr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040492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Inh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D12BA3-1A59-4106-AB0B-121C907F47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9C52538-1FF6-4A48-B824-17232198D1B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447F7F-BD98-45A3-9CB5-738FC09F80F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ABE038-A425-4CC0-917A-1DC3ED725B2E}" type="slidenum">
              <a:rPr lang="nl-BE" smtClean="0"/>
              <a:pPr/>
              <a:t>‹nr.›</a:t>
            </a:fld>
            <a:endParaRPr lang="nl-BE"/>
          </a:p>
        </p:txBody>
      </p:sp>
      <p:sp>
        <p:nvSpPr>
          <p:cNvPr id="5" name="Tijdelijke aanduiding voor tekst 2">
            <a:extLst>
              <a:ext uri="{FF2B5EF4-FFF2-40B4-BE49-F238E27FC236}">
                <a16:creationId xmlns:a16="http://schemas.microsoft.com/office/drawing/2014/main" id="{7BE2456B-919F-4C28-B6F2-477203DFDD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92263"/>
            <a:ext cx="10515600" cy="458470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878667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Boventitel + Inh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0088BA-50E3-453A-B4A0-8CCF8ED49B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6612" y="736352"/>
            <a:ext cx="10515600" cy="703511"/>
          </a:xfrm>
          <a:prstGeom prst="rect">
            <a:avLst/>
          </a:prstGeom>
        </p:spPr>
        <p:txBody>
          <a:bodyPr anchor="t"/>
          <a:lstStyle>
            <a:lvl1pPr>
              <a:defRPr/>
            </a:lvl1pPr>
          </a:lstStyle>
          <a:p>
            <a:r>
              <a:rPr lang="nl-NL"/>
              <a:t>Hoofdtitel</a:t>
            </a:r>
            <a:endParaRPr lang="nl-BE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39A00E47-68C0-4DBD-AB0F-CD7342B025E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592263"/>
            <a:ext cx="10515600" cy="4584700"/>
          </a:xfrm>
        </p:spPr>
        <p:txBody>
          <a:bodyPr/>
          <a:lstStyle>
            <a:lvl1pPr>
              <a:defRPr u="none"/>
            </a:lvl1pPr>
          </a:lstStyle>
          <a:p>
            <a:pPr lvl="0"/>
            <a:r>
              <a:rPr lang="nl-NL"/>
              <a:t>Eerste niveau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4EBF8E1-91F2-4E4B-AF7C-1A2084AB5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EA04B5B-B226-4E77-B512-C407B06E7A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ABE038-A425-4CC0-917A-1DC3ED725B2E}" type="slidenum">
              <a:rPr lang="nl-BE" smtClean="0"/>
              <a:t>‹nr.›</a:t>
            </a:fld>
            <a:endParaRPr lang="nl-BE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6F45857B-E452-48F1-B0B6-4B82FEC46E0F}"/>
              </a:ext>
            </a:extLst>
          </p:cNvPr>
          <p:cNvSpPr/>
          <p:nvPr userDrawn="1"/>
        </p:nvSpPr>
        <p:spPr>
          <a:xfrm>
            <a:off x="0" y="0"/>
            <a:ext cx="219456" cy="6858000"/>
          </a:xfrm>
          <a:prstGeom prst="rect">
            <a:avLst/>
          </a:prstGeom>
          <a:solidFill>
            <a:srgbClr val="FF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2" name="Tijdelijke aanduiding voor tekst 9">
            <a:extLst>
              <a:ext uri="{FF2B5EF4-FFF2-40B4-BE49-F238E27FC236}">
                <a16:creationId xmlns:a16="http://schemas.microsoft.com/office/drawing/2014/main" id="{C8409B7C-6B97-4FAC-AD35-6F8F386B3CA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6612" y="368300"/>
            <a:ext cx="10515599" cy="368052"/>
          </a:xfrm>
        </p:spPr>
        <p:txBody>
          <a:bodyPr anchor="ctr">
            <a:normAutofit/>
          </a:bodyPr>
          <a:lstStyle>
            <a:lvl1pPr>
              <a:defRPr sz="2000" b="0" u="none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nl-BE"/>
              <a:t>BOVENTITEL</a:t>
            </a:r>
          </a:p>
        </p:txBody>
      </p:sp>
    </p:spTree>
    <p:extLst>
      <p:ext uri="{BB962C8B-B14F-4D97-AF65-F5344CB8AC3E}">
        <p14:creationId xmlns:p14="http://schemas.microsoft.com/office/powerpoint/2010/main" val="1696405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FBACB4-A827-476B-A480-75BFBEF64F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C9F335-3273-4667-AD8D-2C4BE24F148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EB5C17-7629-4682-8F5F-4423A21D77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ABE038-A425-4CC0-917A-1DC3ED725B2E}" type="slidenum">
              <a:rPr lang="nl-BE" smtClean="0"/>
              <a:pPr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958864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Bov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0088BA-50E3-453A-B4A0-8CCF8ED49B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6612" y="736352"/>
            <a:ext cx="10515600" cy="703511"/>
          </a:xfrm>
          <a:prstGeom prst="rect">
            <a:avLst/>
          </a:prstGeom>
        </p:spPr>
        <p:txBody>
          <a:bodyPr anchor="t"/>
          <a:lstStyle>
            <a:lvl1pPr>
              <a:defRPr/>
            </a:lvl1pPr>
          </a:lstStyle>
          <a:p>
            <a:r>
              <a:rPr lang="nl-NL"/>
              <a:t>Hoofdtitel</a:t>
            </a:r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4EBF8E1-91F2-4E4B-AF7C-1A2084AB5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EA04B5B-B226-4E77-B512-C407B06E7A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ABE038-A425-4CC0-917A-1DC3ED725B2E}" type="slidenum">
              <a:rPr lang="nl-BE" smtClean="0"/>
              <a:t>‹nr.›</a:t>
            </a:fld>
            <a:endParaRPr lang="nl-BE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6F45857B-E452-48F1-B0B6-4B82FEC46E0F}"/>
              </a:ext>
            </a:extLst>
          </p:cNvPr>
          <p:cNvSpPr/>
          <p:nvPr userDrawn="1"/>
        </p:nvSpPr>
        <p:spPr>
          <a:xfrm>
            <a:off x="0" y="0"/>
            <a:ext cx="219456" cy="6858000"/>
          </a:xfrm>
          <a:prstGeom prst="rect">
            <a:avLst/>
          </a:prstGeom>
          <a:solidFill>
            <a:srgbClr val="FF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2" name="Tijdelijke aanduiding voor tekst 9">
            <a:extLst>
              <a:ext uri="{FF2B5EF4-FFF2-40B4-BE49-F238E27FC236}">
                <a16:creationId xmlns:a16="http://schemas.microsoft.com/office/drawing/2014/main" id="{C8409B7C-6B97-4FAC-AD35-6F8F386B3CA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6612" y="368300"/>
            <a:ext cx="10515599" cy="368052"/>
          </a:xfrm>
        </p:spPr>
        <p:txBody>
          <a:bodyPr anchor="ctr">
            <a:normAutofit/>
          </a:bodyPr>
          <a:lstStyle>
            <a:lvl1pPr>
              <a:defRPr sz="2000" b="0" u="none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nl-BE"/>
              <a:t>BOVENTITEL</a:t>
            </a:r>
          </a:p>
        </p:txBody>
      </p:sp>
    </p:spTree>
    <p:extLst>
      <p:ext uri="{BB962C8B-B14F-4D97-AF65-F5344CB8AC3E}">
        <p14:creationId xmlns:p14="http://schemas.microsoft.com/office/powerpoint/2010/main" val="299653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elpagina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2B140009-D296-44AC-9500-69C690B03F1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A905F8F9-A082-4A0F-8A07-9AA5C01FC1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260000"/>
            <a:ext cx="12193200" cy="1890000"/>
          </a:xfrm>
        </p:spPr>
        <p:txBody>
          <a:bodyPr lIns="720000" tIns="180000" rIns="720000"/>
          <a:lstStyle/>
          <a:p>
            <a:r>
              <a:rPr lang="nl-NL"/>
              <a:t>Klik om stijl te bewerken</a:t>
            </a:r>
            <a:endParaRPr lang="nl-BE"/>
          </a:p>
        </p:txBody>
      </p:sp>
      <p:pic>
        <p:nvPicPr>
          <p:cNvPr id="13" name="Graphic 12">
            <a:hlinkClick r:id="" action="ppaction://noaction"/>
            <a:extLst>
              <a:ext uri="{FF2B5EF4-FFF2-40B4-BE49-F238E27FC236}">
                <a16:creationId xmlns:a16="http://schemas.microsoft.com/office/drawing/2014/main" id="{93F3DD8F-13A3-465C-B867-049DA9BBBDE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0725" y="5778000"/>
            <a:ext cx="1748573" cy="720000"/>
          </a:xfrm>
          <a:prstGeom prst="rect">
            <a:avLst/>
          </a:prstGeom>
        </p:spPr>
      </p:pic>
      <p:sp>
        <p:nvSpPr>
          <p:cNvPr id="16" name="TextBox 6">
            <a:extLst>
              <a:ext uri="{FF2B5EF4-FFF2-40B4-BE49-F238E27FC236}">
                <a16:creationId xmlns:a16="http://schemas.microsoft.com/office/drawing/2014/main" id="{F8211DB1-FC17-4EF1-A4A6-AA4A87F5388A}"/>
              </a:ext>
            </a:extLst>
          </p:cNvPr>
          <p:cNvSpPr txBox="1"/>
          <p:nvPr userDrawn="1"/>
        </p:nvSpPr>
        <p:spPr>
          <a:xfrm>
            <a:off x="8238611" y="5832108"/>
            <a:ext cx="3600000" cy="720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/>
            <a:r>
              <a:rPr lang="nl-BE" sz="1800">
                <a:solidFill>
                  <a:srgbClr val="373737"/>
                </a:solidFill>
                <a:latin typeface="FlandersArtSans-Medium" panose="00000600000000000000" pitchFamily="2" charset="0"/>
                <a:hlinkClick r:id="rId4"/>
              </a:rPr>
              <a:t>binnenland.vlaanderen.be</a:t>
            </a:r>
            <a:endParaRPr lang="nl-BE" sz="1800">
              <a:solidFill>
                <a:srgbClr val="373737"/>
              </a:solidFill>
              <a:latin typeface="FlandersArtSans-Medium" panose="00000600000000000000" pitchFamily="2" charset="0"/>
            </a:endParaRPr>
          </a:p>
        </p:txBody>
      </p:sp>
      <p:pic>
        <p:nvPicPr>
          <p:cNvPr id="17" name="Graphic 16">
            <a:hlinkClick r:id="" action="ppaction://noaction"/>
            <a:extLst>
              <a:ext uri="{FF2B5EF4-FFF2-40B4-BE49-F238E27FC236}">
                <a16:creationId xmlns:a16="http://schemas.microsoft.com/office/drawing/2014/main" id="{AC77402D-E395-492E-8E40-C42BA6F6C7F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4800" y="540000"/>
            <a:ext cx="604550" cy="770400"/>
          </a:xfrm>
          <a:prstGeom prst="rect">
            <a:avLst/>
          </a:prstGeom>
        </p:spPr>
      </p:pic>
      <p:sp>
        <p:nvSpPr>
          <p:cNvPr id="19" name="Tijdelijke aanduiding voor tekst 18">
            <a:extLst>
              <a:ext uri="{FF2B5EF4-FFF2-40B4-BE49-F238E27FC236}">
                <a16:creationId xmlns:a16="http://schemas.microsoft.com/office/drawing/2014/main" id="{14019916-3AE5-40D8-9399-B27DF8CED5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726" y="3150000"/>
            <a:ext cx="10752138" cy="900000"/>
          </a:xfrm>
        </p:spPr>
        <p:txBody>
          <a:bodyPr anchor="ctr" anchorCtr="0"/>
          <a:lstStyle>
            <a:lvl2pPr marL="360000" indent="0">
              <a:buNone/>
              <a:defRPr/>
            </a:lvl2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361792031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Tussentitel + 2 Inhou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4EBF8E1-91F2-4E4B-AF7C-1A2084AB5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EA04B5B-B226-4E77-B512-C407B06E7A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ABE038-A425-4CC0-917A-1DC3ED725B2E}" type="slidenum">
              <a:rPr lang="nl-BE" smtClean="0"/>
              <a:t>‹nr.›</a:t>
            </a:fld>
            <a:endParaRPr lang="nl-BE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6F45857B-E452-48F1-B0B6-4B82FEC46E0F}"/>
              </a:ext>
            </a:extLst>
          </p:cNvPr>
          <p:cNvSpPr/>
          <p:nvPr userDrawn="1"/>
        </p:nvSpPr>
        <p:spPr>
          <a:xfrm>
            <a:off x="0" y="0"/>
            <a:ext cx="219456" cy="6858000"/>
          </a:xfrm>
          <a:prstGeom prst="rect">
            <a:avLst/>
          </a:prstGeom>
          <a:solidFill>
            <a:srgbClr val="FF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8" name="Rechthoek 3">
            <a:extLst>
              <a:ext uri="{FF2B5EF4-FFF2-40B4-BE49-F238E27FC236}">
                <a16:creationId xmlns:a16="http://schemas.microsoft.com/office/drawing/2014/main" id="{23AF26AC-5CFB-4F6D-8A70-31DC3394C2C5}"/>
              </a:ext>
            </a:extLst>
          </p:cNvPr>
          <p:cNvSpPr/>
          <p:nvPr userDrawn="1"/>
        </p:nvSpPr>
        <p:spPr>
          <a:xfrm>
            <a:off x="839787" y="1562413"/>
            <a:ext cx="5049383" cy="46085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468000" rIns="180000" bIns="144000" rtlCol="0" anchor="t"/>
          <a:lstStyle/>
          <a:p>
            <a:pPr algn="ctr"/>
            <a:endParaRPr lang="nl-NL" sz="1600">
              <a:solidFill>
                <a:schemeClr val="tx1"/>
              </a:solidFill>
              <a:uFill>
                <a:solidFill>
                  <a:srgbClr val="FFE819"/>
                </a:solidFill>
              </a:uFill>
              <a:latin typeface="+mj-lt"/>
            </a:endParaRP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516FA6D-8E9F-4C9C-BA50-CC09DCED407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90250" y="1827804"/>
            <a:ext cx="4548456" cy="778234"/>
          </a:xfrm>
        </p:spPr>
        <p:txBody>
          <a:bodyPr anchor="b">
            <a:noAutofit/>
          </a:bodyPr>
          <a:lstStyle>
            <a:lvl1pPr marL="0" algn="ctr" defTabSz="914400" rtl="0" eaLnBrk="1" latinLnBrk="0" hangingPunct="1">
              <a:defRPr lang="en-US" sz="2400" b="1" kern="1200" dirty="0" smtClean="0">
                <a:solidFill>
                  <a:schemeClr val="tx1"/>
                </a:solidFill>
                <a:uFill>
                  <a:solidFill>
                    <a:srgbClr val="FFE819"/>
                  </a:solidFill>
                </a:uFill>
                <a:latin typeface="FlandersArtSans-Regular" panose="00000500000000000000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870A25B-699D-4D15-BC83-0201815D2734}"/>
              </a:ext>
            </a:extLst>
          </p:cNvPr>
          <p:cNvSpPr/>
          <p:nvPr userDrawn="1"/>
        </p:nvSpPr>
        <p:spPr>
          <a:xfrm>
            <a:off x="3209867" y="2898216"/>
            <a:ext cx="309222" cy="7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+mj-lt"/>
            </a:endParaRP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566FEB3-9583-4476-870F-89701263214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89451" y="3262395"/>
            <a:ext cx="4550055" cy="2656800"/>
          </a:xfrm>
        </p:spPr>
        <p:txBody>
          <a:bodyPr/>
          <a:lstStyle>
            <a:lvl1pPr marL="230400" indent="-230400">
              <a:buFont typeface="Wingdings" panose="05000000000000000000" pitchFamily="2" charset="2"/>
              <a:buChar char="§"/>
              <a:defRPr sz="2000">
                <a:latin typeface="FlandersArtSans-Regular" panose="00000500000000000000" pitchFamily="2" charset="0"/>
              </a:defRPr>
            </a:lvl1pPr>
            <a:lvl2pPr marL="460800">
              <a:defRPr>
                <a:latin typeface="FlandersArtSans-Regular" panose="00000500000000000000" pitchFamily="2" charset="0"/>
              </a:defRPr>
            </a:lvl2pPr>
            <a:lvl3pPr marL="691200">
              <a:defRPr>
                <a:latin typeface="FlandersArtSans-Regular" panose="00000500000000000000" pitchFamily="2" charset="0"/>
              </a:defRPr>
            </a:lvl3pPr>
            <a:lvl4pPr marL="921600">
              <a:defRPr>
                <a:latin typeface="FlandersArtSans-Regular" panose="00000500000000000000" pitchFamily="2" charset="0"/>
              </a:defRPr>
            </a:lvl4pPr>
            <a:lvl5pPr marL="1152000">
              <a:defRPr>
                <a:latin typeface="FlandersArtSans-Regular" panose="00000500000000000000" pitchFamily="2" charset="0"/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28" name="Rechthoek 3">
            <a:extLst>
              <a:ext uri="{FF2B5EF4-FFF2-40B4-BE49-F238E27FC236}">
                <a16:creationId xmlns:a16="http://schemas.microsoft.com/office/drawing/2014/main" id="{18679EBA-25DF-47AF-B66A-ADB4C0B50434}"/>
              </a:ext>
            </a:extLst>
          </p:cNvPr>
          <p:cNvSpPr/>
          <p:nvPr userDrawn="1"/>
        </p:nvSpPr>
        <p:spPr>
          <a:xfrm>
            <a:off x="6302830" y="1562413"/>
            <a:ext cx="5049383" cy="46085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468000" rIns="180000" bIns="144000" rtlCol="0" anchor="t"/>
          <a:lstStyle/>
          <a:p>
            <a:pPr algn="ctr"/>
            <a:endParaRPr lang="nl-NL" sz="1600">
              <a:solidFill>
                <a:schemeClr val="tx1"/>
              </a:solidFill>
              <a:uFill>
                <a:solidFill>
                  <a:srgbClr val="FFE819"/>
                </a:solidFill>
              </a:uFill>
              <a:latin typeface="+mj-lt"/>
            </a:endParaRPr>
          </a:p>
        </p:txBody>
      </p:sp>
      <p:sp>
        <p:nvSpPr>
          <p:cNvPr id="29" name="Text Placeholder 16">
            <a:extLst>
              <a:ext uri="{FF2B5EF4-FFF2-40B4-BE49-F238E27FC236}">
                <a16:creationId xmlns:a16="http://schemas.microsoft.com/office/drawing/2014/main" id="{7D3C742E-7030-4C09-A4E2-EE5560A92F6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553293" y="1827804"/>
            <a:ext cx="4548456" cy="778234"/>
          </a:xfrm>
        </p:spPr>
        <p:txBody>
          <a:bodyPr anchor="b">
            <a:noAutofit/>
          </a:bodyPr>
          <a:lstStyle>
            <a:lvl1pPr marL="0" algn="ctr" defTabSz="914400" rtl="0" eaLnBrk="1" latinLnBrk="0" hangingPunct="1">
              <a:defRPr lang="en-US" sz="2400" b="1" kern="1200" dirty="0" smtClean="0">
                <a:solidFill>
                  <a:schemeClr val="tx1"/>
                </a:solidFill>
                <a:uFill>
                  <a:solidFill>
                    <a:srgbClr val="FFE819"/>
                  </a:solidFill>
                </a:uFill>
                <a:latin typeface="FlandersArtSans-Regular" panose="00000500000000000000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BCC130F-4C58-4918-8A26-AD95CBCEBBB9}"/>
              </a:ext>
            </a:extLst>
          </p:cNvPr>
          <p:cNvSpPr/>
          <p:nvPr userDrawn="1"/>
        </p:nvSpPr>
        <p:spPr>
          <a:xfrm>
            <a:off x="8672910" y="2898216"/>
            <a:ext cx="309222" cy="7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+mj-lt"/>
            </a:endParaRP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2319D7C0-B552-49BD-9175-92D787A5496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552494" y="3262395"/>
            <a:ext cx="4550055" cy="2656800"/>
          </a:xfrm>
        </p:spPr>
        <p:txBody>
          <a:bodyPr/>
          <a:lstStyle>
            <a:lvl1pPr marL="230400" indent="-230400">
              <a:buFont typeface="Wingdings" panose="05000000000000000000" pitchFamily="2" charset="2"/>
              <a:buChar char="§"/>
              <a:defRPr sz="2000">
                <a:latin typeface="FlandersArtSans-Regular" panose="00000500000000000000" pitchFamily="2" charset="0"/>
              </a:defRPr>
            </a:lvl1pPr>
            <a:lvl2pPr marL="460800">
              <a:defRPr>
                <a:latin typeface="FlandersArtSans-Regular" panose="00000500000000000000" pitchFamily="2" charset="0"/>
              </a:defRPr>
            </a:lvl2pPr>
            <a:lvl3pPr marL="691200">
              <a:defRPr>
                <a:latin typeface="FlandersArtSans-Regular" panose="00000500000000000000" pitchFamily="2" charset="0"/>
              </a:defRPr>
            </a:lvl3pPr>
            <a:lvl4pPr marL="921600">
              <a:defRPr>
                <a:latin typeface="FlandersArtSans-Regular" panose="00000500000000000000" pitchFamily="2" charset="0"/>
              </a:defRPr>
            </a:lvl4pPr>
            <a:lvl5pPr marL="1152000">
              <a:defRPr>
                <a:latin typeface="FlandersArtSans-Regular" panose="00000500000000000000" pitchFamily="2" charset="0"/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2" name="Tijdelijke aanduiding voor tekst 9">
            <a:extLst>
              <a:ext uri="{FF2B5EF4-FFF2-40B4-BE49-F238E27FC236}">
                <a16:creationId xmlns:a16="http://schemas.microsoft.com/office/drawing/2014/main" id="{6486DB07-8444-310C-D629-D95C8047D8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89451" y="609761"/>
            <a:ext cx="10012298" cy="368052"/>
          </a:xfrm>
        </p:spPr>
        <p:txBody>
          <a:bodyPr anchor="ctr">
            <a:normAutofit/>
          </a:bodyPr>
          <a:lstStyle>
            <a:lvl1pPr>
              <a:defRPr sz="2000" b="0" u="none" cap="all" baseline="0">
                <a:solidFill>
                  <a:schemeClr val="tx1"/>
                </a:solidFill>
                <a:latin typeface="FlandersArtSans-Regular" panose="00000500000000000000" pitchFamily="2" charset="0"/>
              </a:defRPr>
            </a:lvl1pPr>
          </a:lstStyle>
          <a:p>
            <a:pPr lvl="0"/>
            <a:r>
              <a:rPr lang="nl-BE"/>
              <a:t>BOVENTITEL</a:t>
            </a:r>
          </a:p>
        </p:txBody>
      </p:sp>
    </p:spTree>
    <p:extLst>
      <p:ext uri="{BB962C8B-B14F-4D97-AF65-F5344CB8AC3E}">
        <p14:creationId xmlns:p14="http://schemas.microsoft.com/office/powerpoint/2010/main" val="790686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Tussentitel + 3 Inhou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4EBF8E1-91F2-4E4B-AF7C-1A2084AB5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EA04B5B-B226-4E77-B512-C407B06E7A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ABE038-A425-4CC0-917A-1DC3ED725B2E}" type="slidenum">
              <a:rPr lang="nl-BE" smtClean="0"/>
              <a:t>‹nr.›</a:t>
            </a:fld>
            <a:endParaRPr lang="nl-BE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6F45857B-E452-48F1-B0B6-4B82FEC46E0F}"/>
              </a:ext>
            </a:extLst>
          </p:cNvPr>
          <p:cNvSpPr/>
          <p:nvPr userDrawn="1"/>
        </p:nvSpPr>
        <p:spPr>
          <a:xfrm>
            <a:off x="0" y="0"/>
            <a:ext cx="219456" cy="6858000"/>
          </a:xfrm>
          <a:prstGeom prst="rect">
            <a:avLst/>
          </a:prstGeom>
          <a:solidFill>
            <a:srgbClr val="FF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8" name="Rechthoek 3">
            <a:extLst>
              <a:ext uri="{FF2B5EF4-FFF2-40B4-BE49-F238E27FC236}">
                <a16:creationId xmlns:a16="http://schemas.microsoft.com/office/drawing/2014/main" id="{23AF26AC-5CFB-4F6D-8A70-31DC3394C2C5}"/>
              </a:ext>
            </a:extLst>
          </p:cNvPr>
          <p:cNvSpPr/>
          <p:nvPr userDrawn="1"/>
        </p:nvSpPr>
        <p:spPr>
          <a:xfrm>
            <a:off x="839788" y="1577976"/>
            <a:ext cx="3240000" cy="46227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468000" rIns="180000" bIns="144000" rtlCol="0" anchor="t"/>
          <a:lstStyle/>
          <a:p>
            <a:pPr algn="ctr"/>
            <a:endParaRPr lang="nl-NL" sz="1600">
              <a:solidFill>
                <a:schemeClr val="tx1"/>
              </a:solidFill>
              <a:uFill>
                <a:solidFill>
                  <a:srgbClr val="FFE819"/>
                </a:solidFill>
              </a:uFill>
              <a:latin typeface="+mj-lt"/>
            </a:endParaRPr>
          </a:p>
        </p:txBody>
      </p:sp>
      <p:sp>
        <p:nvSpPr>
          <p:cNvPr id="9" name="Rechthoek 3">
            <a:extLst>
              <a:ext uri="{FF2B5EF4-FFF2-40B4-BE49-F238E27FC236}">
                <a16:creationId xmlns:a16="http://schemas.microsoft.com/office/drawing/2014/main" id="{1786B4DD-87B3-4870-B63C-2B803B4906F0}"/>
              </a:ext>
            </a:extLst>
          </p:cNvPr>
          <p:cNvSpPr/>
          <p:nvPr userDrawn="1"/>
        </p:nvSpPr>
        <p:spPr>
          <a:xfrm>
            <a:off x="4476000" y="1577976"/>
            <a:ext cx="3240000" cy="46227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468000" rIns="180000" bIns="144000" rtlCol="0" anchor="t"/>
          <a:lstStyle/>
          <a:p>
            <a:pPr algn="ctr"/>
            <a:endParaRPr lang="nl-NL" sz="1600">
              <a:solidFill>
                <a:srgbClr val="373636"/>
              </a:solidFill>
              <a:uFill>
                <a:solidFill>
                  <a:srgbClr val="FFE819"/>
                </a:solidFill>
              </a:uFill>
              <a:latin typeface="+mj-lt"/>
            </a:endParaRPr>
          </a:p>
        </p:txBody>
      </p:sp>
      <p:sp>
        <p:nvSpPr>
          <p:cNvPr id="10" name="Rechthoek 3">
            <a:extLst>
              <a:ext uri="{FF2B5EF4-FFF2-40B4-BE49-F238E27FC236}">
                <a16:creationId xmlns:a16="http://schemas.microsoft.com/office/drawing/2014/main" id="{892CD43D-9369-47DC-A190-4DABB5F648B9}"/>
              </a:ext>
            </a:extLst>
          </p:cNvPr>
          <p:cNvSpPr/>
          <p:nvPr userDrawn="1"/>
        </p:nvSpPr>
        <p:spPr>
          <a:xfrm>
            <a:off x="8112212" y="1592263"/>
            <a:ext cx="3240000" cy="46227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468000" rIns="180000" bIns="144000" rtlCol="0" anchor="t"/>
          <a:lstStyle/>
          <a:p>
            <a:pPr algn="ctr"/>
            <a:endParaRPr lang="nl-NL" sz="1600">
              <a:solidFill>
                <a:srgbClr val="373636"/>
              </a:solidFill>
              <a:uFill>
                <a:solidFill>
                  <a:srgbClr val="FFE819"/>
                </a:solidFill>
              </a:uFill>
              <a:latin typeface="+mj-lt"/>
            </a:endParaRP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516FA6D-8E9F-4C9C-BA50-CC09DCED407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00501" y="1904789"/>
            <a:ext cx="2918574" cy="778234"/>
          </a:xfrm>
        </p:spPr>
        <p:txBody>
          <a:bodyPr anchor="b">
            <a:noAutofit/>
          </a:bodyPr>
          <a:lstStyle>
            <a:lvl1pPr marL="0" algn="ctr" defTabSz="914400" rtl="0" eaLnBrk="1" latinLnBrk="0" hangingPunct="1">
              <a:defRPr lang="en-US" sz="2400" b="1" kern="1200" dirty="0" smtClean="0">
                <a:solidFill>
                  <a:schemeClr val="tx2"/>
                </a:solidFill>
                <a:uFill>
                  <a:solidFill>
                    <a:srgbClr val="FFE819"/>
                  </a:solidFill>
                </a:u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4903B434-F0DF-4A38-AD25-1AC6AC8F30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36713" y="1904789"/>
            <a:ext cx="2918574" cy="778234"/>
          </a:xfrm>
        </p:spPr>
        <p:txBody>
          <a:bodyPr anchor="b">
            <a:noAutofit/>
          </a:bodyPr>
          <a:lstStyle>
            <a:lvl1pPr marL="0" algn="ctr" defTabSz="914400" rtl="0" eaLnBrk="1" latinLnBrk="0" hangingPunct="1">
              <a:defRPr lang="en-US" sz="2400" b="1" kern="1200" dirty="0" smtClean="0">
                <a:solidFill>
                  <a:schemeClr val="tx2"/>
                </a:solidFill>
                <a:uFill>
                  <a:solidFill>
                    <a:srgbClr val="FFE819"/>
                  </a:solidFill>
                </a:u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4F757132-B6AF-4A2B-9F9B-07AB94E88C1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72925" y="1919076"/>
            <a:ext cx="2918574" cy="778234"/>
          </a:xfrm>
        </p:spPr>
        <p:txBody>
          <a:bodyPr anchor="b">
            <a:noAutofit/>
          </a:bodyPr>
          <a:lstStyle>
            <a:lvl1pPr marL="0" algn="ctr" defTabSz="914400" rtl="0" eaLnBrk="1" latinLnBrk="0" hangingPunct="1">
              <a:defRPr lang="en-US" sz="2400" b="1" kern="1200" dirty="0" smtClean="0">
                <a:solidFill>
                  <a:schemeClr val="tx2"/>
                </a:solidFill>
                <a:uFill>
                  <a:solidFill>
                    <a:srgbClr val="FFE819"/>
                  </a:solidFill>
                </a:u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870A25B-699D-4D15-BC83-0201815D2734}"/>
              </a:ext>
            </a:extLst>
          </p:cNvPr>
          <p:cNvSpPr/>
          <p:nvPr userDrawn="1"/>
        </p:nvSpPr>
        <p:spPr>
          <a:xfrm>
            <a:off x="2304758" y="2975201"/>
            <a:ext cx="309222" cy="7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+mj-l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A5DD0C0-8DD0-4CF1-A9DC-5F39B9B29250}"/>
              </a:ext>
            </a:extLst>
          </p:cNvPr>
          <p:cNvSpPr/>
          <p:nvPr userDrawn="1"/>
        </p:nvSpPr>
        <p:spPr>
          <a:xfrm>
            <a:off x="5821445" y="2975201"/>
            <a:ext cx="309222" cy="7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+mj-lt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047A5D2-E535-4929-8474-B0DFBDAC3AAA}"/>
              </a:ext>
            </a:extLst>
          </p:cNvPr>
          <p:cNvSpPr/>
          <p:nvPr userDrawn="1"/>
        </p:nvSpPr>
        <p:spPr>
          <a:xfrm>
            <a:off x="9577182" y="2989488"/>
            <a:ext cx="309222" cy="7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+mj-lt"/>
            </a:endParaRP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566FEB3-9583-4476-870F-89701263214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00501" y="3339380"/>
            <a:ext cx="2919600" cy="2656800"/>
          </a:xfrm>
        </p:spPr>
        <p:txBody>
          <a:bodyPr/>
          <a:lstStyle>
            <a:lvl1pPr marL="230400" indent="-230400">
              <a:buFont typeface="Wingdings" panose="05000000000000000000" pitchFamily="2" charset="2"/>
              <a:buChar char="§"/>
              <a:defRPr sz="2000">
                <a:latin typeface="+mn-lt"/>
              </a:defRPr>
            </a:lvl1pPr>
            <a:lvl2pPr marL="460800">
              <a:defRPr/>
            </a:lvl2pPr>
            <a:lvl3pPr marL="691200">
              <a:defRPr/>
            </a:lvl3pPr>
            <a:lvl4pPr marL="921600">
              <a:defRPr/>
            </a:lvl4pPr>
            <a:lvl5pPr marL="1152000"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EB0C5E13-305D-4093-8357-BB356F02F7B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635687" y="3339380"/>
            <a:ext cx="2919600" cy="2656800"/>
          </a:xfrm>
        </p:spPr>
        <p:txBody>
          <a:bodyPr/>
          <a:lstStyle>
            <a:lvl1pPr marL="230400" indent="-230400">
              <a:buFont typeface="Wingdings" panose="05000000000000000000" pitchFamily="2" charset="2"/>
              <a:buChar char="§"/>
              <a:defRPr sz="2000">
                <a:latin typeface="+mn-lt"/>
              </a:defRPr>
            </a:lvl1pPr>
            <a:lvl2pPr marL="460800">
              <a:defRPr/>
            </a:lvl2pPr>
            <a:lvl3pPr marL="691200">
              <a:defRPr/>
            </a:lvl3pPr>
            <a:lvl4pPr marL="921600">
              <a:defRPr/>
            </a:lvl4pPr>
            <a:lvl5pPr marL="1152000"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A9B79223-F299-4F48-B8EE-17FF3C2046E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70873" y="3339380"/>
            <a:ext cx="2919600" cy="2656800"/>
          </a:xfrm>
        </p:spPr>
        <p:txBody>
          <a:bodyPr/>
          <a:lstStyle>
            <a:lvl1pPr marL="230400" indent="-230400">
              <a:buFont typeface="Wingdings" panose="05000000000000000000" pitchFamily="2" charset="2"/>
              <a:buChar char="§"/>
              <a:defRPr sz="2000">
                <a:latin typeface="+mn-lt"/>
              </a:defRPr>
            </a:lvl1pPr>
            <a:lvl2pPr marL="460800">
              <a:defRPr/>
            </a:lvl2pPr>
            <a:lvl3pPr marL="691200">
              <a:defRPr/>
            </a:lvl3pPr>
            <a:lvl4pPr marL="921600">
              <a:defRPr/>
            </a:lvl4pPr>
            <a:lvl5pPr marL="1152000"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EACFD26D-5C2D-4D4C-BF5B-D87C120620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6612" y="736352"/>
            <a:ext cx="10515600" cy="703511"/>
          </a:xfrm>
          <a:prstGeom prst="rect">
            <a:avLst/>
          </a:prstGeom>
        </p:spPr>
        <p:txBody>
          <a:bodyPr anchor="t"/>
          <a:lstStyle>
            <a:lvl1pPr>
              <a:defRPr/>
            </a:lvl1pPr>
          </a:lstStyle>
          <a:p>
            <a:r>
              <a:rPr lang="nl-NL"/>
              <a:t>Hoofdtitel</a:t>
            </a:r>
            <a:endParaRPr lang="nl-BE"/>
          </a:p>
        </p:txBody>
      </p:sp>
      <p:sp>
        <p:nvSpPr>
          <p:cNvPr id="22" name="Tijdelijke aanduiding voor tekst 9">
            <a:extLst>
              <a:ext uri="{FF2B5EF4-FFF2-40B4-BE49-F238E27FC236}">
                <a16:creationId xmlns:a16="http://schemas.microsoft.com/office/drawing/2014/main" id="{CC9879FD-0861-47BA-AB16-D81A3B7D1A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6612" y="368300"/>
            <a:ext cx="10515599" cy="368052"/>
          </a:xfrm>
        </p:spPr>
        <p:txBody>
          <a:bodyPr anchor="ctr">
            <a:normAutofit/>
          </a:bodyPr>
          <a:lstStyle>
            <a:lvl1pPr>
              <a:defRPr sz="2000" b="0" u="none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nl-BE"/>
              <a:t>BOVENTITEL</a:t>
            </a:r>
          </a:p>
        </p:txBody>
      </p:sp>
    </p:spTree>
    <p:extLst>
      <p:ext uri="{BB962C8B-B14F-4D97-AF65-F5344CB8AC3E}">
        <p14:creationId xmlns:p14="http://schemas.microsoft.com/office/powerpoint/2010/main" val="3277740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Tussentitel + 4 Inhou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4EBF8E1-91F2-4E4B-AF7C-1A2084AB5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EA04B5B-B226-4E77-B512-C407B06E7A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ABE038-A425-4CC0-917A-1DC3ED725B2E}" type="slidenum">
              <a:rPr lang="nl-BE" smtClean="0"/>
              <a:t>‹nr.›</a:t>
            </a:fld>
            <a:endParaRPr lang="nl-BE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6F45857B-E452-48F1-B0B6-4B82FEC46E0F}"/>
              </a:ext>
            </a:extLst>
          </p:cNvPr>
          <p:cNvSpPr/>
          <p:nvPr userDrawn="1"/>
        </p:nvSpPr>
        <p:spPr>
          <a:xfrm>
            <a:off x="0" y="0"/>
            <a:ext cx="219456" cy="6858000"/>
          </a:xfrm>
          <a:prstGeom prst="rect">
            <a:avLst/>
          </a:prstGeom>
          <a:solidFill>
            <a:srgbClr val="FF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8" name="Rechthoek 3">
            <a:extLst>
              <a:ext uri="{FF2B5EF4-FFF2-40B4-BE49-F238E27FC236}">
                <a16:creationId xmlns:a16="http://schemas.microsoft.com/office/drawing/2014/main" id="{23AF26AC-5CFB-4F6D-8A70-31DC3394C2C5}"/>
              </a:ext>
            </a:extLst>
          </p:cNvPr>
          <p:cNvSpPr/>
          <p:nvPr userDrawn="1"/>
        </p:nvSpPr>
        <p:spPr>
          <a:xfrm>
            <a:off x="839788" y="1592263"/>
            <a:ext cx="2523897" cy="46085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468000" rIns="180000" bIns="144000" rtlCol="0" anchor="t"/>
          <a:lstStyle/>
          <a:p>
            <a:pPr algn="ctr"/>
            <a:endParaRPr lang="nl-NL" sz="1600">
              <a:solidFill>
                <a:schemeClr val="tx1"/>
              </a:solidFill>
              <a:uFill>
                <a:solidFill>
                  <a:srgbClr val="FFE819"/>
                </a:solidFill>
              </a:uFill>
              <a:latin typeface="+mj-lt"/>
            </a:endParaRP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516FA6D-8E9F-4C9C-BA50-CC09DCED407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66060" y="1904789"/>
            <a:ext cx="2273512" cy="778234"/>
          </a:xfrm>
        </p:spPr>
        <p:txBody>
          <a:bodyPr anchor="b">
            <a:noAutofit/>
          </a:bodyPr>
          <a:lstStyle>
            <a:lvl1pPr marL="0" algn="ctr" defTabSz="914400" rtl="0" eaLnBrk="1" latinLnBrk="0" hangingPunct="1">
              <a:defRPr lang="en-US" sz="2400" b="1" kern="1200" dirty="0" smtClean="0">
                <a:solidFill>
                  <a:schemeClr val="tx2"/>
                </a:solidFill>
                <a:uFill>
                  <a:solidFill>
                    <a:srgbClr val="FFE819"/>
                  </a:solidFill>
                </a:u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870A25B-699D-4D15-BC83-0201815D2734}"/>
              </a:ext>
            </a:extLst>
          </p:cNvPr>
          <p:cNvSpPr/>
          <p:nvPr userDrawn="1"/>
        </p:nvSpPr>
        <p:spPr>
          <a:xfrm>
            <a:off x="1958011" y="2975201"/>
            <a:ext cx="309222" cy="7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+mj-lt"/>
            </a:endParaRP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566FEB3-9583-4476-870F-89701263214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65656" y="3339380"/>
            <a:ext cx="2274311" cy="2656800"/>
          </a:xfrm>
        </p:spPr>
        <p:txBody>
          <a:bodyPr/>
          <a:lstStyle>
            <a:lvl1pPr marL="230400" indent="-230400">
              <a:buFont typeface="Wingdings" panose="05000000000000000000" pitchFamily="2" charset="2"/>
              <a:buChar char="§"/>
              <a:defRPr sz="2000">
                <a:latin typeface="+mn-lt"/>
              </a:defRPr>
            </a:lvl1pPr>
            <a:lvl2pPr marL="460800">
              <a:defRPr/>
            </a:lvl2pPr>
            <a:lvl3pPr marL="691200">
              <a:defRPr/>
            </a:lvl3pPr>
            <a:lvl4pPr marL="921600">
              <a:defRPr/>
            </a:lvl4pPr>
            <a:lvl5pPr marL="1152000"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71" name="Rechthoek 3">
            <a:extLst>
              <a:ext uri="{FF2B5EF4-FFF2-40B4-BE49-F238E27FC236}">
                <a16:creationId xmlns:a16="http://schemas.microsoft.com/office/drawing/2014/main" id="{D42E061E-4CC4-43FD-8005-B1BD5D905DC0}"/>
              </a:ext>
            </a:extLst>
          </p:cNvPr>
          <p:cNvSpPr/>
          <p:nvPr userDrawn="1"/>
        </p:nvSpPr>
        <p:spPr>
          <a:xfrm>
            <a:off x="3502631" y="1592263"/>
            <a:ext cx="2523897" cy="46085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468000" rIns="180000" bIns="144000" rtlCol="0" anchor="t"/>
          <a:lstStyle/>
          <a:p>
            <a:pPr algn="ctr"/>
            <a:endParaRPr lang="nl-NL" sz="1600">
              <a:solidFill>
                <a:schemeClr val="tx1"/>
              </a:solidFill>
              <a:uFill>
                <a:solidFill>
                  <a:srgbClr val="FFE819"/>
                </a:solidFill>
              </a:uFill>
              <a:latin typeface="+mj-lt"/>
            </a:endParaRPr>
          </a:p>
        </p:txBody>
      </p:sp>
      <p:sp>
        <p:nvSpPr>
          <p:cNvPr id="72" name="Text Placeholder 16">
            <a:extLst>
              <a:ext uri="{FF2B5EF4-FFF2-40B4-BE49-F238E27FC236}">
                <a16:creationId xmlns:a16="http://schemas.microsoft.com/office/drawing/2014/main" id="{4E3C6674-DD01-47E9-A10E-D853334741C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628903" y="1904789"/>
            <a:ext cx="2273512" cy="778234"/>
          </a:xfrm>
        </p:spPr>
        <p:txBody>
          <a:bodyPr anchor="b">
            <a:noAutofit/>
          </a:bodyPr>
          <a:lstStyle>
            <a:lvl1pPr marL="0" algn="ctr" defTabSz="914400" rtl="0" eaLnBrk="1" latinLnBrk="0" hangingPunct="1">
              <a:defRPr lang="en-US" sz="2400" b="1" kern="1200" dirty="0" smtClean="0">
                <a:solidFill>
                  <a:schemeClr val="tx2"/>
                </a:solidFill>
                <a:uFill>
                  <a:solidFill>
                    <a:srgbClr val="FFE819"/>
                  </a:solidFill>
                </a:u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7B184C01-EC21-4F1C-A40F-CE7D84CD102F}"/>
              </a:ext>
            </a:extLst>
          </p:cNvPr>
          <p:cNvSpPr/>
          <p:nvPr userDrawn="1"/>
        </p:nvSpPr>
        <p:spPr>
          <a:xfrm>
            <a:off x="4620854" y="2975201"/>
            <a:ext cx="309222" cy="7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+mj-lt"/>
            </a:endParaRPr>
          </a:p>
        </p:txBody>
      </p:sp>
      <p:sp>
        <p:nvSpPr>
          <p:cNvPr id="74" name="Text Placeholder 20">
            <a:extLst>
              <a:ext uri="{FF2B5EF4-FFF2-40B4-BE49-F238E27FC236}">
                <a16:creationId xmlns:a16="http://schemas.microsoft.com/office/drawing/2014/main" id="{55EDD25B-4655-4241-B02F-A9D898AFDAC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28499" y="3339380"/>
            <a:ext cx="2274311" cy="2656800"/>
          </a:xfrm>
        </p:spPr>
        <p:txBody>
          <a:bodyPr/>
          <a:lstStyle>
            <a:lvl1pPr marL="230400" indent="-230400">
              <a:buFont typeface="Wingdings" panose="05000000000000000000" pitchFamily="2" charset="2"/>
              <a:buChar char="§"/>
              <a:defRPr sz="2000">
                <a:latin typeface="+mn-lt"/>
              </a:defRPr>
            </a:lvl1pPr>
            <a:lvl2pPr marL="460800">
              <a:defRPr/>
            </a:lvl2pPr>
            <a:lvl3pPr marL="691200">
              <a:defRPr/>
            </a:lvl3pPr>
            <a:lvl4pPr marL="921600">
              <a:defRPr/>
            </a:lvl4pPr>
            <a:lvl5pPr marL="1152000"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75" name="Rechthoek 3">
            <a:extLst>
              <a:ext uri="{FF2B5EF4-FFF2-40B4-BE49-F238E27FC236}">
                <a16:creationId xmlns:a16="http://schemas.microsoft.com/office/drawing/2014/main" id="{25E21064-3834-4788-B957-C622E24DCF38}"/>
              </a:ext>
            </a:extLst>
          </p:cNvPr>
          <p:cNvSpPr/>
          <p:nvPr userDrawn="1"/>
        </p:nvSpPr>
        <p:spPr>
          <a:xfrm>
            <a:off x="6165474" y="1592263"/>
            <a:ext cx="2523897" cy="46085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468000" rIns="180000" bIns="144000" rtlCol="0" anchor="t"/>
          <a:lstStyle/>
          <a:p>
            <a:pPr algn="ctr"/>
            <a:endParaRPr lang="nl-NL" sz="1600">
              <a:solidFill>
                <a:schemeClr val="tx1"/>
              </a:solidFill>
              <a:uFill>
                <a:solidFill>
                  <a:srgbClr val="FFE819"/>
                </a:solidFill>
              </a:uFill>
              <a:latin typeface="+mj-lt"/>
            </a:endParaRPr>
          </a:p>
        </p:txBody>
      </p:sp>
      <p:sp>
        <p:nvSpPr>
          <p:cNvPr id="76" name="Text Placeholder 16">
            <a:extLst>
              <a:ext uri="{FF2B5EF4-FFF2-40B4-BE49-F238E27FC236}">
                <a16:creationId xmlns:a16="http://schemas.microsoft.com/office/drawing/2014/main" id="{6350B18A-4C7A-4978-BED9-F8CA3F7851C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91746" y="1904789"/>
            <a:ext cx="2273512" cy="778234"/>
          </a:xfrm>
        </p:spPr>
        <p:txBody>
          <a:bodyPr anchor="b">
            <a:noAutofit/>
          </a:bodyPr>
          <a:lstStyle>
            <a:lvl1pPr marL="0" algn="ctr" defTabSz="914400" rtl="0" eaLnBrk="1" latinLnBrk="0" hangingPunct="1">
              <a:defRPr lang="en-US" sz="2400" b="1" kern="1200" dirty="0" smtClean="0">
                <a:solidFill>
                  <a:schemeClr val="tx2"/>
                </a:solidFill>
                <a:uFill>
                  <a:solidFill>
                    <a:srgbClr val="FFE819"/>
                  </a:solidFill>
                </a:u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84149926-AEB6-41AF-B225-2B03505D5B8D}"/>
              </a:ext>
            </a:extLst>
          </p:cNvPr>
          <p:cNvSpPr/>
          <p:nvPr userDrawn="1"/>
        </p:nvSpPr>
        <p:spPr>
          <a:xfrm>
            <a:off x="7283697" y="2975201"/>
            <a:ext cx="309222" cy="7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+mj-lt"/>
            </a:endParaRPr>
          </a:p>
        </p:txBody>
      </p:sp>
      <p:sp>
        <p:nvSpPr>
          <p:cNvPr id="78" name="Text Placeholder 20">
            <a:extLst>
              <a:ext uri="{FF2B5EF4-FFF2-40B4-BE49-F238E27FC236}">
                <a16:creationId xmlns:a16="http://schemas.microsoft.com/office/drawing/2014/main" id="{CBE57870-6B13-4436-9AB0-B45ACC23401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91342" y="3339380"/>
            <a:ext cx="2274311" cy="2656800"/>
          </a:xfrm>
        </p:spPr>
        <p:txBody>
          <a:bodyPr/>
          <a:lstStyle>
            <a:lvl1pPr marL="230400" indent="-230400">
              <a:buFont typeface="Wingdings" panose="05000000000000000000" pitchFamily="2" charset="2"/>
              <a:buChar char="§"/>
              <a:defRPr sz="2000">
                <a:latin typeface="+mn-lt"/>
              </a:defRPr>
            </a:lvl1pPr>
            <a:lvl2pPr marL="460800">
              <a:defRPr/>
            </a:lvl2pPr>
            <a:lvl3pPr marL="691200">
              <a:defRPr/>
            </a:lvl3pPr>
            <a:lvl4pPr marL="921600">
              <a:defRPr/>
            </a:lvl4pPr>
            <a:lvl5pPr marL="1152000"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79" name="Rechthoek 3">
            <a:extLst>
              <a:ext uri="{FF2B5EF4-FFF2-40B4-BE49-F238E27FC236}">
                <a16:creationId xmlns:a16="http://schemas.microsoft.com/office/drawing/2014/main" id="{8C77416B-B3AD-4D67-B6D2-4ACF2DD6EDD0}"/>
              </a:ext>
            </a:extLst>
          </p:cNvPr>
          <p:cNvSpPr/>
          <p:nvPr userDrawn="1"/>
        </p:nvSpPr>
        <p:spPr>
          <a:xfrm>
            <a:off x="8828316" y="1592263"/>
            <a:ext cx="2523897" cy="46085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468000" rIns="180000" bIns="144000" rtlCol="0" anchor="t"/>
          <a:lstStyle/>
          <a:p>
            <a:pPr algn="ctr"/>
            <a:endParaRPr lang="nl-NL" sz="1600">
              <a:solidFill>
                <a:schemeClr val="tx1"/>
              </a:solidFill>
              <a:uFill>
                <a:solidFill>
                  <a:srgbClr val="FFE819"/>
                </a:solidFill>
              </a:uFill>
              <a:latin typeface="+mj-lt"/>
            </a:endParaRPr>
          </a:p>
        </p:txBody>
      </p:sp>
      <p:sp>
        <p:nvSpPr>
          <p:cNvPr id="80" name="Text Placeholder 16">
            <a:extLst>
              <a:ext uri="{FF2B5EF4-FFF2-40B4-BE49-F238E27FC236}">
                <a16:creationId xmlns:a16="http://schemas.microsoft.com/office/drawing/2014/main" id="{852EF0F1-F093-4E8C-A7D2-5130A61B0E5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54588" y="1904789"/>
            <a:ext cx="2273512" cy="778234"/>
          </a:xfrm>
        </p:spPr>
        <p:txBody>
          <a:bodyPr anchor="b">
            <a:noAutofit/>
          </a:bodyPr>
          <a:lstStyle>
            <a:lvl1pPr marL="0" algn="ctr" defTabSz="914400" rtl="0" eaLnBrk="1" latinLnBrk="0" hangingPunct="1">
              <a:defRPr lang="en-US" sz="2400" b="1" kern="1200" dirty="0" smtClean="0">
                <a:solidFill>
                  <a:schemeClr val="tx2"/>
                </a:solidFill>
                <a:uFill>
                  <a:solidFill>
                    <a:srgbClr val="FFE819"/>
                  </a:solidFill>
                </a:u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396AA952-17E9-41F2-A71E-4A8199C2B745}"/>
              </a:ext>
            </a:extLst>
          </p:cNvPr>
          <p:cNvSpPr/>
          <p:nvPr userDrawn="1"/>
        </p:nvSpPr>
        <p:spPr>
          <a:xfrm>
            <a:off x="9946539" y="2975201"/>
            <a:ext cx="309222" cy="7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+mj-lt"/>
            </a:endParaRPr>
          </a:p>
        </p:txBody>
      </p:sp>
      <p:sp>
        <p:nvSpPr>
          <p:cNvPr id="82" name="Text Placeholder 20">
            <a:extLst>
              <a:ext uri="{FF2B5EF4-FFF2-40B4-BE49-F238E27FC236}">
                <a16:creationId xmlns:a16="http://schemas.microsoft.com/office/drawing/2014/main" id="{6FF71E5F-F651-4629-9C5E-3DE7139EE63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954184" y="3339380"/>
            <a:ext cx="2274311" cy="2656800"/>
          </a:xfrm>
        </p:spPr>
        <p:txBody>
          <a:bodyPr/>
          <a:lstStyle>
            <a:lvl1pPr marL="230400" indent="-230400">
              <a:buFont typeface="Wingdings" panose="05000000000000000000" pitchFamily="2" charset="2"/>
              <a:buChar char="§"/>
              <a:defRPr sz="2000">
                <a:latin typeface="+mn-lt"/>
              </a:defRPr>
            </a:lvl1pPr>
            <a:lvl2pPr marL="460800">
              <a:defRPr/>
            </a:lvl2pPr>
            <a:lvl3pPr marL="691200">
              <a:defRPr/>
            </a:lvl3pPr>
            <a:lvl4pPr marL="921600">
              <a:defRPr/>
            </a:lvl4pPr>
            <a:lvl5pPr marL="1152000"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41E833E3-11DC-491F-9B58-E6B30A34C1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6612" y="736352"/>
            <a:ext cx="10515600" cy="703511"/>
          </a:xfrm>
          <a:prstGeom prst="rect">
            <a:avLst/>
          </a:prstGeom>
        </p:spPr>
        <p:txBody>
          <a:bodyPr anchor="t"/>
          <a:lstStyle>
            <a:lvl1pPr>
              <a:defRPr/>
            </a:lvl1pPr>
          </a:lstStyle>
          <a:p>
            <a:r>
              <a:rPr lang="nl-NL"/>
              <a:t>Hoofdtitel</a:t>
            </a:r>
            <a:endParaRPr lang="nl-BE"/>
          </a:p>
        </p:txBody>
      </p:sp>
      <p:sp>
        <p:nvSpPr>
          <p:cNvPr id="24" name="Tijdelijke aanduiding voor tekst 9">
            <a:extLst>
              <a:ext uri="{FF2B5EF4-FFF2-40B4-BE49-F238E27FC236}">
                <a16:creationId xmlns:a16="http://schemas.microsoft.com/office/drawing/2014/main" id="{73F24D1F-09B5-4D12-AAE2-ED1A62D13F3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6612" y="368300"/>
            <a:ext cx="10515599" cy="368052"/>
          </a:xfrm>
        </p:spPr>
        <p:txBody>
          <a:bodyPr anchor="ctr">
            <a:normAutofit/>
          </a:bodyPr>
          <a:lstStyle>
            <a:lvl1pPr>
              <a:defRPr sz="2000" b="0" u="none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nl-BE"/>
              <a:t>BOVENTITEL</a:t>
            </a:r>
          </a:p>
        </p:txBody>
      </p:sp>
    </p:spTree>
    <p:extLst>
      <p:ext uri="{BB962C8B-B14F-4D97-AF65-F5344CB8AC3E}">
        <p14:creationId xmlns:p14="http://schemas.microsoft.com/office/powerpoint/2010/main" val="1918111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Tussentitel + 2 Inhoud/Pict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4EBF8E1-91F2-4E4B-AF7C-1A2084AB5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EA04B5B-B226-4E77-B512-C407B06E7A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ABE038-A425-4CC0-917A-1DC3ED725B2E}" type="slidenum">
              <a:rPr lang="nl-BE" smtClean="0"/>
              <a:t>‹nr.›</a:t>
            </a:fld>
            <a:endParaRPr lang="nl-BE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6F45857B-E452-48F1-B0B6-4B82FEC46E0F}"/>
              </a:ext>
            </a:extLst>
          </p:cNvPr>
          <p:cNvSpPr/>
          <p:nvPr userDrawn="1"/>
        </p:nvSpPr>
        <p:spPr>
          <a:xfrm>
            <a:off x="0" y="0"/>
            <a:ext cx="219456" cy="6858000"/>
          </a:xfrm>
          <a:prstGeom prst="rect">
            <a:avLst/>
          </a:prstGeom>
          <a:solidFill>
            <a:srgbClr val="FF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8" name="Rechthoek 3">
            <a:extLst>
              <a:ext uri="{FF2B5EF4-FFF2-40B4-BE49-F238E27FC236}">
                <a16:creationId xmlns:a16="http://schemas.microsoft.com/office/drawing/2014/main" id="{23AF26AC-5CFB-4F6D-8A70-31DC3394C2C5}"/>
              </a:ext>
            </a:extLst>
          </p:cNvPr>
          <p:cNvSpPr/>
          <p:nvPr userDrawn="1"/>
        </p:nvSpPr>
        <p:spPr>
          <a:xfrm>
            <a:off x="839787" y="1592263"/>
            <a:ext cx="5049383" cy="46085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468000" rIns="180000" bIns="144000" rtlCol="0" anchor="t"/>
          <a:lstStyle/>
          <a:p>
            <a:pPr algn="ctr"/>
            <a:endParaRPr lang="nl-NL" sz="1600">
              <a:solidFill>
                <a:schemeClr val="tx1"/>
              </a:solidFill>
              <a:uFill>
                <a:solidFill>
                  <a:srgbClr val="FFE819"/>
                </a:solidFill>
              </a:uFill>
              <a:latin typeface="+mj-lt"/>
            </a:endParaRPr>
          </a:p>
        </p:txBody>
      </p:sp>
      <p:sp>
        <p:nvSpPr>
          <p:cNvPr id="28" name="Rechthoek 3">
            <a:extLst>
              <a:ext uri="{FF2B5EF4-FFF2-40B4-BE49-F238E27FC236}">
                <a16:creationId xmlns:a16="http://schemas.microsoft.com/office/drawing/2014/main" id="{18679EBA-25DF-47AF-B66A-ADB4C0B50434}"/>
              </a:ext>
            </a:extLst>
          </p:cNvPr>
          <p:cNvSpPr/>
          <p:nvPr userDrawn="1"/>
        </p:nvSpPr>
        <p:spPr>
          <a:xfrm>
            <a:off x="6302830" y="1592263"/>
            <a:ext cx="5049383" cy="46085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468000" rIns="180000" bIns="144000" rtlCol="0" anchor="t"/>
          <a:lstStyle/>
          <a:p>
            <a:pPr algn="ctr"/>
            <a:endParaRPr lang="nl-NL" sz="1600">
              <a:solidFill>
                <a:schemeClr val="tx1"/>
              </a:solidFill>
              <a:uFill>
                <a:solidFill>
                  <a:srgbClr val="FFE819"/>
                </a:solidFill>
              </a:uFill>
              <a:latin typeface="+mj-lt"/>
            </a:endParaRPr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B402254C-B322-4B4A-8A90-0B23A940D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6612" y="736352"/>
            <a:ext cx="10515600" cy="703511"/>
          </a:xfrm>
          <a:prstGeom prst="rect">
            <a:avLst/>
          </a:prstGeom>
        </p:spPr>
        <p:txBody>
          <a:bodyPr anchor="t"/>
          <a:lstStyle>
            <a:lvl1pPr>
              <a:defRPr/>
            </a:lvl1pPr>
          </a:lstStyle>
          <a:p>
            <a:r>
              <a:rPr lang="nl-NL"/>
              <a:t>Hoofdtitel</a:t>
            </a:r>
            <a:endParaRPr lang="nl-BE"/>
          </a:p>
        </p:txBody>
      </p:sp>
      <p:sp>
        <p:nvSpPr>
          <p:cNvPr id="17" name="Tijdelijke aanduiding voor tekst 9">
            <a:extLst>
              <a:ext uri="{FF2B5EF4-FFF2-40B4-BE49-F238E27FC236}">
                <a16:creationId xmlns:a16="http://schemas.microsoft.com/office/drawing/2014/main" id="{59EEA2BC-5754-457F-AE68-3991568A9F5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6612" y="368300"/>
            <a:ext cx="10515599" cy="368052"/>
          </a:xfrm>
        </p:spPr>
        <p:txBody>
          <a:bodyPr anchor="ctr">
            <a:normAutofit/>
          </a:bodyPr>
          <a:lstStyle>
            <a:lvl1pPr>
              <a:defRPr sz="2000" b="0" u="none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nl-BE"/>
              <a:t>BOVENTITEL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46BDB17C-9B6D-48F9-9348-2AEF34DB304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89278" y="2618715"/>
            <a:ext cx="4550400" cy="778234"/>
          </a:xfrm>
        </p:spPr>
        <p:txBody>
          <a:bodyPr anchor="b">
            <a:normAutofit/>
          </a:bodyPr>
          <a:lstStyle>
            <a:lvl1pPr marL="0" algn="ctr" defTabSz="914400" rtl="0" eaLnBrk="1" latinLnBrk="0" hangingPunct="1">
              <a:defRPr lang="en-US" sz="2400" b="1" kern="1200" dirty="0" smtClean="0">
                <a:solidFill>
                  <a:schemeClr val="tx2"/>
                </a:solidFill>
                <a:uFill>
                  <a:solidFill>
                    <a:srgbClr val="FFE819"/>
                  </a:solidFill>
                </a:u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DD495D0-3B93-43AE-B288-1723A0705626}"/>
              </a:ext>
            </a:extLst>
          </p:cNvPr>
          <p:cNvSpPr/>
          <p:nvPr userDrawn="1"/>
        </p:nvSpPr>
        <p:spPr>
          <a:xfrm>
            <a:off x="3209867" y="3549427"/>
            <a:ext cx="309222" cy="7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+mj-lt"/>
            </a:endParaRPr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A69D1F81-2F1B-47B2-A28E-09C0F783B27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89278" y="3773905"/>
            <a:ext cx="4550400" cy="2110395"/>
          </a:xfrm>
        </p:spPr>
        <p:txBody>
          <a:bodyPr/>
          <a:lstStyle>
            <a:lvl1pPr marL="230400" indent="-230400">
              <a:buFont typeface="Wingdings" panose="05000000000000000000" pitchFamily="2" charset="2"/>
              <a:buChar char="§"/>
              <a:defRPr sz="2000">
                <a:latin typeface="+mn-lt"/>
              </a:defRPr>
            </a:lvl1pPr>
            <a:lvl2pPr marL="460800">
              <a:defRPr/>
            </a:lvl2pPr>
            <a:lvl3pPr marL="691200">
              <a:defRPr/>
            </a:lvl3pPr>
            <a:lvl4pPr marL="921600">
              <a:defRPr/>
            </a:lvl4pPr>
            <a:lvl5pPr marL="1152000"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22" name="Online Image Placeholder 16">
            <a:extLst>
              <a:ext uri="{FF2B5EF4-FFF2-40B4-BE49-F238E27FC236}">
                <a16:creationId xmlns:a16="http://schemas.microsoft.com/office/drawing/2014/main" id="{222CE1EE-23F9-4FCE-86F0-7F96545E4E63}"/>
              </a:ext>
            </a:extLst>
          </p:cNvPr>
          <p:cNvSpPr>
            <a:spLocks noGrp="1"/>
          </p:cNvSpPr>
          <p:nvPr>
            <p:ph type="clipArt" sz="quarter" idx="27" hasCustomPrompt="1"/>
          </p:nvPr>
        </p:nvSpPr>
        <p:spPr>
          <a:xfrm>
            <a:off x="2914478" y="1714500"/>
            <a:ext cx="900000" cy="900000"/>
          </a:xfrm>
        </p:spPr>
        <p:txBody>
          <a:bodyPr/>
          <a:lstStyle/>
          <a:p>
            <a:r>
              <a:rPr lang="nl-BE"/>
              <a:t> </a:t>
            </a:r>
          </a:p>
        </p:txBody>
      </p:sp>
      <p:sp>
        <p:nvSpPr>
          <p:cNvPr id="23" name="Text Placeholder 16">
            <a:extLst>
              <a:ext uri="{FF2B5EF4-FFF2-40B4-BE49-F238E27FC236}">
                <a16:creationId xmlns:a16="http://schemas.microsoft.com/office/drawing/2014/main" id="{30D1A054-6415-47DE-9B16-10035EB5305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552322" y="2618715"/>
            <a:ext cx="4550400" cy="778234"/>
          </a:xfrm>
        </p:spPr>
        <p:txBody>
          <a:bodyPr anchor="b">
            <a:normAutofit/>
          </a:bodyPr>
          <a:lstStyle>
            <a:lvl1pPr marL="0" algn="ctr" defTabSz="914400" rtl="0" eaLnBrk="1" latinLnBrk="0" hangingPunct="1">
              <a:defRPr lang="en-US" sz="2400" b="1" kern="1200" dirty="0" smtClean="0">
                <a:solidFill>
                  <a:schemeClr val="tx2"/>
                </a:solidFill>
                <a:uFill>
                  <a:solidFill>
                    <a:srgbClr val="FFE819"/>
                  </a:solidFill>
                </a:u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E6D2007-47ED-45A4-9F12-A18B0C9ED417}"/>
              </a:ext>
            </a:extLst>
          </p:cNvPr>
          <p:cNvSpPr/>
          <p:nvPr userDrawn="1"/>
        </p:nvSpPr>
        <p:spPr>
          <a:xfrm>
            <a:off x="8672911" y="3549427"/>
            <a:ext cx="309222" cy="7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+mj-lt"/>
            </a:endParaRP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B0A96B7A-60C9-490B-B4EE-D049BC61C56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552322" y="3773905"/>
            <a:ext cx="4550400" cy="2110395"/>
          </a:xfrm>
        </p:spPr>
        <p:txBody>
          <a:bodyPr/>
          <a:lstStyle>
            <a:lvl1pPr marL="230400" indent="-230400">
              <a:buFont typeface="Wingdings" panose="05000000000000000000" pitchFamily="2" charset="2"/>
              <a:buChar char="§"/>
              <a:defRPr sz="2000">
                <a:latin typeface="+mn-lt"/>
              </a:defRPr>
            </a:lvl1pPr>
            <a:lvl2pPr marL="460800">
              <a:defRPr/>
            </a:lvl2pPr>
            <a:lvl3pPr marL="691200">
              <a:defRPr/>
            </a:lvl3pPr>
            <a:lvl4pPr marL="921600">
              <a:defRPr/>
            </a:lvl4pPr>
            <a:lvl5pPr marL="1152000"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26" name="Online Image Placeholder 16">
            <a:extLst>
              <a:ext uri="{FF2B5EF4-FFF2-40B4-BE49-F238E27FC236}">
                <a16:creationId xmlns:a16="http://schemas.microsoft.com/office/drawing/2014/main" id="{343900B9-5A27-4A34-9EA3-52EAA216C361}"/>
              </a:ext>
            </a:extLst>
          </p:cNvPr>
          <p:cNvSpPr>
            <a:spLocks noGrp="1"/>
          </p:cNvSpPr>
          <p:nvPr>
            <p:ph type="clipArt" sz="quarter" idx="30" hasCustomPrompt="1"/>
          </p:nvPr>
        </p:nvSpPr>
        <p:spPr>
          <a:xfrm>
            <a:off x="8377522" y="1714500"/>
            <a:ext cx="900000" cy="900000"/>
          </a:xfrm>
        </p:spPr>
        <p:txBody>
          <a:bodyPr/>
          <a:lstStyle/>
          <a:p>
            <a:r>
              <a:rPr lang="nl-B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96636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Tussentitel + 3 Inhoud/Pict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4EBF8E1-91F2-4E4B-AF7C-1A2084AB5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EA04B5B-B226-4E77-B512-C407B06E7A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ABE038-A425-4CC0-917A-1DC3ED725B2E}" type="slidenum">
              <a:rPr lang="nl-BE" smtClean="0"/>
              <a:t>‹nr.›</a:t>
            </a:fld>
            <a:endParaRPr lang="nl-BE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6F45857B-E452-48F1-B0B6-4B82FEC46E0F}"/>
              </a:ext>
            </a:extLst>
          </p:cNvPr>
          <p:cNvSpPr/>
          <p:nvPr userDrawn="1"/>
        </p:nvSpPr>
        <p:spPr>
          <a:xfrm>
            <a:off x="0" y="0"/>
            <a:ext cx="219456" cy="6858000"/>
          </a:xfrm>
          <a:prstGeom prst="rect">
            <a:avLst/>
          </a:prstGeom>
          <a:solidFill>
            <a:srgbClr val="FF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8" name="Rechthoek 3">
            <a:extLst>
              <a:ext uri="{FF2B5EF4-FFF2-40B4-BE49-F238E27FC236}">
                <a16:creationId xmlns:a16="http://schemas.microsoft.com/office/drawing/2014/main" id="{23AF26AC-5CFB-4F6D-8A70-31DC3394C2C5}"/>
              </a:ext>
            </a:extLst>
          </p:cNvPr>
          <p:cNvSpPr/>
          <p:nvPr userDrawn="1"/>
        </p:nvSpPr>
        <p:spPr>
          <a:xfrm>
            <a:off x="839788" y="1724026"/>
            <a:ext cx="3240000" cy="4476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468000" rIns="180000" bIns="144000" rtlCol="0" anchor="t"/>
          <a:lstStyle/>
          <a:p>
            <a:pPr algn="ctr"/>
            <a:endParaRPr lang="nl-NL" sz="1600">
              <a:solidFill>
                <a:schemeClr val="tx1"/>
              </a:solidFill>
              <a:uFill>
                <a:solidFill>
                  <a:srgbClr val="FFE819"/>
                </a:solidFill>
              </a:uFill>
              <a:latin typeface="+mj-lt"/>
            </a:endParaRPr>
          </a:p>
        </p:txBody>
      </p:sp>
      <p:sp>
        <p:nvSpPr>
          <p:cNvPr id="9" name="Rechthoek 3">
            <a:extLst>
              <a:ext uri="{FF2B5EF4-FFF2-40B4-BE49-F238E27FC236}">
                <a16:creationId xmlns:a16="http://schemas.microsoft.com/office/drawing/2014/main" id="{1786B4DD-87B3-4870-B63C-2B803B4906F0}"/>
              </a:ext>
            </a:extLst>
          </p:cNvPr>
          <p:cNvSpPr/>
          <p:nvPr userDrawn="1"/>
        </p:nvSpPr>
        <p:spPr>
          <a:xfrm>
            <a:off x="4476000" y="1724026"/>
            <a:ext cx="3240000" cy="447674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468000" rIns="180000" bIns="144000" rtlCol="0" anchor="t"/>
          <a:lstStyle/>
          <a:p>
            <a:pPr algn="ctr"/>
            <a:endParaRPr lang="nl-NL" sz="1600">
              <a:solidFill>
                <a:srgbClr val="373636"/>
              </a:solidFill>
              <a:uFill>
                <a:solidFill>
                  <a:srgbClr val="FFE819"/>
                </a:solidFill>
              </a:uFill>
              <a:latin typeface="+mj-lt"/>
            </a:endParaRPr>
          </a:p>
        </p:txBody>
      </p:sp>
      <p:sp>
        <p:nvSpPr>
          <p:cNvPr id="10" name="Rechthoek 3">
            <a:extLst>
              <a:ext uri="{FF2B5EF4-FFF2-40B4-BE49-F238E27FC236}">
                <a16:creationId xmlns:a16="http://schemas.microsoft.com/office/drawing/2014/main" id="{892CD43D-9369-47DC-A190-4DABB5F648B9}"/>
              </a:ext>
            </a:extLst>
          </p:cNvPr>
          <p:cNvSpPr/>
          <p:nvPr userDrawn="1"/>
        </p:nvSpPr>
        <p:spPr>
          <a:xfrm>
            <a:off x="8112212" y="1738312"/>
            <a:ext cx="3240000" cy="4476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468000" rIns="180000" bIns="144000" rtlCol="0" anchor="t"/>
          <a:lstStyle/>
          <a:p>
            <a:pPr algn="ctr"/>
            <a:endParaRPr lang="nl-NL" sz="1600">
              <a:solidFill>
                <a:srgbClr val="373636"/>
              </a:solidFill>
              <a:uFill>
                <a:solidFill>
                  <a:srgbClr val="FFE819"/>
                </a:solidFill>
              </a:uFill>
              <a:latin typeface="+mj-lt"/>
            </a:endParaRPr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EACFD26D-5C2D-4D4C-BF5B-D87C120620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6612" y="736352"/>
            <a:ext cx="10515600" cy="703511"/>
          </a:xfrm>
          <a:prstGeom prst="rect">
            <a:avLst/>
          </a:prstGeom>
        </p:spPr>
        <p:txBody>
          <a:bodyPr anchor="t"/>
          <a:lstStyle>
            <a:lvl1pPr>
              <a:defRPr>
                <a:latin typeface="FlandersArtSans-Regular" panose="00000500000000000000" pitchFamily="2" charset="0"/>
              </a:defRPr>
            </a:lvl1pPr>
          </a:lstStyle>
          <a:p>
            <a:r>
              <a:rPr lang="nl-NL"/>
              <a:t>Hoofdtitel</a:t>
            </a:r>
            <a:endParaRPr lang="nl-BE"/>
          </a:p>
        </p:txBody>
      </p:sp>
      <p:sp>
        <p:nvSpPr>
          <p:cNvPr id="23" name="Text Placeholder 16">
            <a:extLst>
              <a:ext uri="{FF2B5EF4-FFF2-40B4-BE49-F238E27FC236}">
                <a16:creationId xmlns:a16="http://schemas.microsoft.com/office/drawing/2014/main" id="{8BB1C6CA-135A-4AE9-9AB0-7B207BD8378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99988" y="1844641"/>
            <a:ext cx="2919600" cy="778234"/>
          </a:xfrm>
        </p:spPr>
        <p:txBody>
          <a:bodyPr anchor="b">
            <a:normAutofit/>
          </a:bodyPr>
          <a:lstStyle>
            <a:lvl1pPr marL="0" algn="ctr" defTabSz="914400" rtl="0" eaLnBrk="1" latinLnBrk="0" hangingPunct="1">
              <a:defRPr lang="en-US" sz="2400" b="1" kern="1200" dirty="0" smtClean="0">
                <a:solidFill>
                  <a:schemeClr val="tx2"/>
                </a:solidFill>
                <a:uFill>
                  <a:solidFill>
                    <a:srgbClr val="FFE819"/>
                  </a:solidFill>
                </a:uFill>
                <a:latin typeface="FlandersArtSans-Regular" panose="00000500000000000000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5BCF47F-37A5-4B7C-9485-7519277ADFCA}"/>
              </a:ext>
            </a:extLst>
          </p:cNvPr>
          <p:cNvSpPr/>
          <p:nvPr userDrawn="1"/>
        </p:nvSpPr>
        <p:spPr>
          <a:xfrm>
            <a:off x="2305177" y="2788820"/>
            <a:ext cx="309222" cy="7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+mj-lt"/>
            </a:endParaRP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3728EF24-9EE6-4CEE-969E-B8B7446DDC0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99988" y="3031431"/>
            <a:ext cx="2919600" cy="2852870"/>
          </a:xfrm>
        </p:spPr>
        <p:txBody>
          <a:bodyPr/>
          <a:lstStyle>
            <a:lvl1pPr marL="230400" indent="-230400">
              <a:buFont typeface="Wingdings" panose="05000000000000000000" pitchFamily="2" charset="2"/>
              <a:buChar char="§"/>
              <a:defRPr sz="2000">
                <a:latin typeface="FlandersArtSans-Regular" panose="00000500000000000000" pitchFamily="2" charset="0"/>
              </a:defRPr>
            </a:lvl1pPr>
            <a:lvl2pPr marL="460800">
              <a:defRPr>
                <a:latin typeface="FlandersArtSans-Regular" panose="00000500000000000000" pitchFamily="2" charset="0"/>
              </a:defRPr>
            </a:lvl2pPr>
            <a:lvl3pPr marL="691200">
              <a:defRPr>
                <a:latin typeface="FlandersArtSans-Regular" panose="00000500000000000000" pitchFamily="2" charset="0"/>
              </a:defRPr>
            </a:lvl3pPr>
            <a:lvl4pPr marL="921600">
              <a:defRPr>
                <a:latin typeface="FlandersArtSans-Regular" panose="00000500000000000000" pitchFamily="2" charset="0"/>
              </a:defRPr>
            </a:lvl4pPr>
            <a:lvl5pPr marL="1152000">
              <a:defRPr>
                <a:latin typeface="FlandersArtSans-Regular" panose="00000500000000000000" pitchFamily="2" charset="0"/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34" name="Text Placeholder 16">
            <a:extLst>
              <a:ext uri="{FF2B5EF4-FFF2-40B4-BE49-F238E27FC236}">
                <a16:creationId xmlns:a16="http://schemas.microsoft.com/office/drawing/2014/main" id="{CC3F4D00-33C0-47BA-AD68-A90C140F063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634612" y="1844641"/>
            <a:ext cx="2919600" cy="778234"/>
          </a:xfrm>
        </p:spPr>
        <p:txBody>
          <a:bodyPr anchor="b">
            <a:normAutofit/>
          </a:bodyPr>
          <a:lstStyle>
            <a:lvl1pPr marL="0" algn="ctr" defTabSz="914400" rtl="0" eaLnBrk="1" latinLnBrk="0" hangingPunct="1">
              <a:defRPr lang="en-US" sz="2400" b="1" kern="1200" dirty="0" smtClean="0">
                <a:solidFill>
                  <a:schemeClr val="tx2"/>
                </a:solidFill>
                <a:uFill>
                  <a:solidFill>
                    <a:srgbClr val="FFE819"/>
                  </a:solidFill>
                </a:uFill>
                <a:latin typeface="FlandersArtSans-Regular" panose="00000500000000000000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DC197F4-EA06-4DDA-A29E-0EF637FFFEBE}"/>
              </a:ext>
            </a:extLst>
          </p:cNvPr>
          <p:cNvSpPr/>
          <p:nvPr userDrawn="1"/>
        </p:nvSpPr>
        <p:spPr>
          <a:xfrm>
            <a:off x="5939801" y="2788820"/>
            <a:ext cx="309222" cy="7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+mj-lt"/>
            </a:endParaRPr>
          </a:p>
        </p:txBody>
      </p:sp>
      <p:sp>
        <p:nvSpPr>
          <p:cNvPr id="36" name="Text Placeholder 20">
            <a:extLst>
              <a:ext uri="{FF2B5EF4-FFF2-40B4-BE49-F238E27FC236}">
                <a16:creationId xmlns:a16="http://schemas.microsoft.com/office/drawing/2014/main" id="{526EC123-0D03-4949-A8C0-A22D3753281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6200" y="3031431"/>
            <a:ext cx="2919600" cy="2852870"/>
          </a:xfrm>
        </p:spPr>
        <p:txBody>
          <a:bodyPr/>
          <a:lstStyle>
            <a:lvl1pPr marL="230400" indent="-230400">
              <a:buFont typeface="Wingdings" panose="05000000000000000000" pitchFamily="2" charset="2"/>
              <a:buChar char="§"/>
              <a:defRPr sz="2000">
                <a:latin typeface="FlandersArtSans-Regular" panose="00000500000000000000" pitchFamily="2" charset="0"/>
              </a:defRPr>
            </a:lvl1pPr>
            <a:lvl2pPr marL="460800">
              <a:defRPr>
                <a:latin typeface="FlandersArtSans-Regular" panose="00000500000000000000" pitchFamily="2" charset="0"/>
              </a:defRPr>
            </a:lvl2pPr>
            <a:lvl3pPr marL="691200">
              <a:defRPr>
                <a:latin typeface="FlandersArtSans-Regular" panose="00000500000000000000" pitchFamily="2" charset="0"/>
              </a:defRPr>
            </a:lvl3pPr>
            <a:lvl4pPr marL="921600">
              <a:defRPr>
                <a:latin typeface="FlandersArtSans-Regular" panose="00000500000000000000" pitchFamily="2" charset="0"/>
              </a:defRPr>
            </a:lvl4pPr>
            <a:lvl5pPr marL="1152000">
              <a:defRPr>
                <a:latin typeface="FlandersArtSans-Regular" panose="00000500000000000000" pitchFamily="2" charset="0"/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38" name="Text Placeholder 16">
            <a:extLst>
              <a:ext uri="{FF2B5EF4-FFF2-40B4-BE49-F238E27FC236}">
                <a16:creationId xmlns:a16="http://schemas.microsoft.com/office/drawing/2014/main" id="{77D2E02D-03FC-4B46-B861-DCDEDEC131F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272412" y="1844641"/>
            <a:ext cx="2919600" cy="778234"/>
          </a:xfrm>
        </p:spPr>
        <p:txBody>
          <a:bodyPr anchor="b">
            <a:normAutofit/>
          </a:bodyPr>
          <a:lstStyle>
            <a:lvl1pPr marL="0" algn="ctr" defTabSz="914400" rtl="0" eaLnBrk="1" latinLnBrk="0" hangingPunct="1">
              <a:defRPr lang="en-US" sz="2400" b="1" kern="1200" dirty="0" smtClean="0">
                <a:solidFill>
                  <a:schemeClr val="tx2"/>
                </a:solidFill>
                <a:uFill>
                  <a:solidFill>
                    <a:srgbClr val="FFE819"/>
                  </a:solidFill>
                </a:uFill>
                <a:latin typeface="FlandersArtSans-Regular" panose="00000500000000000000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35FF3416-302A-4EBD-90C7-F5A5EF8E3A87}"/>
              </a:ext>
            </a:extLst>
          </p:cNvPr>
          <p:cNvSpPr/>
          <p:nvPr userDrawn="1"/>
        </p:nvSpPr>
        <p:spPr>
          <a:xfrm>
            <a:off x="9577601" y="2788820"/>
            <a:ext cx="309222" cy="7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+mj-lt"/>
            </a:endParaRPr>
          </a:p>
        </p:txBody>
      </p:sp>
      <p:sp>
        <p:nvSpPr>
          <p:cNvPr id="40" name="Text Placeholder 20">
            <a:extLst>
              <a:ext uri="{FF2B5EF4-FFF2-40B4-BE49-F238E27FC236}">
                <a16:creationId xmlns:a16="http://schemas.microsoft.com/office/drawing/2014/main" id="{674B1754-672D-4B67-A177-16D8B34DD39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272412" y="3026765"/>
            <a:ext cx="2919600" cy="2857536"/>
          </a:xfrm>
        </p:spPr>
        <p:txBody>
          <a:bodyPr/>
          <a:lstStyle>
            <a:lvl1pPr marL="230400" indent="-230400">
              <a:buFont typeface="Wingdings" panose="05000000000000000000" pitchFamily="2" charset="2"/>
              <a:buChar char="§"/>
              <a:defRPr sz="2000">
                <a:latin typeface="FlandersArtSans-Regular" panose="00000500000000000000" pitchFamily="2" charset="0"/>
              </a:defRPr>
            </a:lvl1pPr>
            <a:lvl2pPr marL="460800">
              <a:defRPr>
                <a:latin typeface="FlandersArtSans-Regular" panose="00000500000000000000" pitchFamily="2" charset="0"/>
              </a:defRPr>
            </a:lvl2pPr>
            <a:lvl3pPr marL="691200">
              <a:defRPr>
                <a:latin typeface="FlandersArtSans-Regular" panose="00000500000000000000" pitchFamily="2" charset="0"/>
              </a:defRPr>
            </a:lvl3pPr>
            <a:lvl4pPr marL="921600">
              <a:defRPr>
                <a:latin typeface="FlandersArtSans-Regular" panose="00000500000000000000" pitchFamily="2" charset="0"/>
              </a:defRPr>
            </a:lvl4pPr>
            <a:lvl5pPr marL="1152000">
              <a:defRPr>
                <a:latin typeface="FlandersArtSans-Regular" panose="00000500000000000000" pitchFamily="2" charset="0"/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288683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Tussentitel + 4 Inhoud/Pict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4EBF8E1-91F2-4E4B-AF7C-1A2084AB5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EA04B5B-B226-4E77-B512-C407B06E7A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ABE038-A425-4CC0-917A-1DC3ED725B2E}" type="slidenum">
              <a:rPr lang="nl-BE" smtClean="0"/>
              <a:t>‹nr.›</a:t>
            </a:fld>
            <a:endParaRPr lang="nl-BE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6F45857B-E452-48F1-B0B6-4B82FEC46E0F}"/>
              </a:ext>
            </a:extLst>
          </p:cNvPr>
          <p:cNvSpPr/>
          <p:nvPr userDrawn="1"/>
        </p:nvSpPr>
        <p:spPr>
          <a:xfrm>
            <a:off x="0" y="0"/>
            <a:ext cx="219456" cy="6858000"/>
          </a:xfrm>
          <a:prstGeom prst="rect">
            <a:avLst/>
          </a:prstGeom>
          <a:solidFill>
            <a:srgbClr val="FF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8" name="Rechthoek 3">
            <a:extLst>
              <a:ext uri="{FF2B5EF4-FFF2-40B4-BE49-F238E27FC236}">
                <a16:creationId xmlns:a16="http://schemas.microsoft.com/office/drawing/2014/main" id="{23AF26AC-5CFB-4F6D-8A70-31DC3394C2C5}"/>
              </a:ext>
            </a:extLst>
          </p:cNvPr>
          <p:cNvSpPr/>
          <p:nvPr userDrawn="1"/>
        </p:nvSpPr>
        <p:spPr>
          <a:xfrm>
            <a:off x="839788" y="1592263"/>
            <a:ext cx="2523897" cy="46085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468000" rIns="180000" bIns="144000" rtlCol="0" anchor="t"/>
          <a:lstStyle/>
          <a:p>
            <a:pPr algn="ctr"/>
            <a:endParaRPr lang="nl-NL" sz="1600">
              <a:solidFill>
                <a:schemeClr val="tx1"/>
              </a:solidFill>
              <a:uFill>
                <a:solidFill>
                  <a:srgbClr val="FFE819"/>
                </a:solidFill>
              </a:uFill>
              <a:latin typeface="+mj-lt"/>
            </a:endParaRP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516FA6D-8E9F-4C9C-BA50-CC09DCED407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66060" y="2618715"/>
            <a:ext cx="2273512" cy="778234"/>
          </a:xfrm>
        </p:spPr>
        <p:txBody>
          <a:bodyPr anchor="b">
            <a:normAutofit/>
          </a:bodyPr>
          <a:lstStyle>
            <a:lvl1pPr marL="0" algn="ctr" defTabSz="914400" rtl="0" eaLnBrk="1" latinLnBrk="0" hangingPunct="1">
              <a:defRPr lang="en-US" sz="2400" b="1" kern="1200" dirty="0" smtClean="0">
                <a:solidFill>
                  <a:schemeClr val="tx2"/>
                </a:solidFill>
                <a:uFill>
                  <a:solidFill>
                    <a:srgbClr val="FFE819"/>
                  </a:solidFill>
                </a:u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870A25B-699D-4D15-BC83-0201815D2734}"/>
              </a:ext>
            </a:extLst>
          </p:cNvPr>
          <p:cNvSpPr/>
          <p:nvPr userDrawn="1"/>
        </p:nvSpPr>
        <p:spPr>
          <a:xfrm>
            <a:off x="1958011" y="3549427"/>
            <a:ext cx="309222" cy="7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+mj-lt"/>
            </a:endParaRP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566FEB3-9583-4476-870F-89701263214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65656" y="3773905"/>
            <a:ext cx="2274311" cy="2110395"/>
          </a:xfrm>
        </p:spPr>
        <p:txBody>
          <a:bodyPr/>
          <a:lstStyle>
            <a:lvl1pPr marL="230400" indent="-230400">
              <a:buFont typeface="Wingdings" panose="05000000000000000000" pitchFamily="2" charset="2"/>
              <a:buChar char="§"/>
              <a:defRPr sz="2000">
                <a:latin typeface="+mn-lt"/>
              </a:defRPr>
            </a:lvl1pPr>
            <a:lvl2pPr marL="460800">
              <a:defRPr/>
            </a:lvl2pPr>
            <a:lvl3pPr marL="691200">
              <a:defRPr/>
            </a:lvl3pPr>
            <a:lvl4pPr marL="921600">
              <a:defRPr/>
            </a:lvl4pPr>
            <a:lvl5pPr marL="1152000"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71" name="Rechthoek 3">
            <a:extLst>
              <a:ext uri="{FF2B5EF4-FFF2-40B4-BE49-F238E27FC236}">
                <a16:creationId xmlns:a16="http://schemas.microsoft.com/office/drawing/2014/main" id="{D42E061E-4CC4-43FD-8005-B1BD5D905DC0}"/>
              </a:ext>
            </a:extLst>
          </p:cNvPr>
          <p:cNvSpPr/>
          <p:nvPr userDrawn="1"/>
        </p:nvSpPr>
        <p:spPr>
          <a:xfrm>
            <a:off x="3502631" y="1592263"/>
            <a:ext cx="2523897" cy="46085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468000" rIns="180000" bIns="144000" rtlCol="0" anchor="t"/>
          <a:lstStyle/>
          <a:p>
            <a:pPr algn="ctr"/>
            <a:endParaRPr lang="nl-NL" sz="1600">
              <a:solidFill>
                <a:schemeClr val="tx1"/>
              </a:solidFill>
              <a:uFill>
                <a:solidFill>
                  <a:srgbClr val="FFE819"/>
                </a:solidFill>
              </a:uFill>
              <a:latin typeface="+mj-lt"/>
            </a:endParaRPr>
          </a:p>
        </p:txBody>
      </p:sp>
      <p:sp>
        <p:nvSpPr>
          <p:cNvPr id="72" name="Text Placeholder 16">
            <a:extLst>
              <a:ext uri="{FF2B5EF4-FFF2-40B4-BE49-F238E27FC236}">
                <a16:creationId xmlns:a16="http://schemas.microsoft.com/office/drawing/2014/main" id="{4E3C6674-DD01-47E9-A10E-D853334741C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628903" y="2618715"/>
            <a:ext cx="2273512" cy="778234"/>
          </a:xfrm>
        </p:spPr>
        <p:txBody>
          <a:bodyPr anchor="b">
            <a:normAutofit/>
          </a:bodyPr>
          <a:lstStyle>
            <a:lvl1pPr marL="0" algn="ctr" defTabSz="914400" rtl="0" eaLnBrk="1" latinLnBrk="0" hangingPunct="1">
              <a:defRPr lang="en-US" sz="2400" b="1" kern="1200" dirty="0" smtClean="0">
                <a:solidFill>
                  <a:schemeClr val="tx2"/>
                </a:solidFill>
                <a:uFill>
                  <a:solidFill>
                    <a:srgbClr val="FFE819"/>
                  </a:solidFill>
                </a:u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7B184C01-EC21-4F1C-A40F-CE7D84CD102F}"/>
              </a:ext>
            </a:extLst>
          </p:cNvPr>
          <p:cNvSpPr/>
          <p:nvPr userDrawn="1"/>
        </p:nvSpPr>
        <p:spPr>
          <a:xfrm>
            <a:off x="4620854" y="3549427"/>
            <a:ext cx="309222" cy="7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+mj-lt"/>
            </a:endParaRPr>
          </a:p>
        </p:txBody>
      </p:sp>
      <p:sp>
        <p:nvSpPr>
          <p:cNvPr id="74" name="Text Placeholder 20">
            <a:extLst>
              <a:ext uri="{FF2B5EF4-FFF2-40B4-BE49-F238E27FC236}">
                <a16:creationId xmlns:a16="http://schemas.microsoft.com/office/drawing/2014/main" id="{55EDD25B-4655-4241-B02F-A9D898AFDAC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28499" y="3773905"/>
            <a:ext cx="2274311" cy="2110395"/>
          </a:xfrm>
        </p:spPr>
        <p:txBody>
          <a:bodyPr/>
          <a:lstStyle>
            <a:lvl1pPr marL="230400" indent="-230400">
              <a:buFont typeface="Wingdings" panose="05000000000000000000" pitchFamily="2" charset="2"/>
              <a:buChar char="§"/>
              <a:defRPr sz="2000">
                <a:latin typeface="+mn-lt"/>
              </a:defRPr>
            </a:lvl1pPr>
            <a:lvl2pPr marL="460800">
              <a:defRPr/>
            </a:lvl2pPr>
            <a:lvl3pPr marL="691200">
              <a:defRPr/>
            </a:lvl3pPr>
            <a:lvl4pPr marL="921600">
              <a:defRPr/>
            </a:lvl4pPr>
            <a:lvl5pPr marL="1152000"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75" name="Rechthoek 3">
            <a:extLst>
              <a:ext uri="{FF2B5EF4-FFF2-40B4-BE49-F238E27FC236}">
                <a16:creationId xmlns:a16="http://schemas.microsoft.com/office/drawing/2014/main" id="{25E21064-3834-4788-B957-C622E24DCF38}"/>
              </a:ext>
            </a:extLst>
          </p:cNvPr>
          <p:cNvSpPr/>
          <p:nvPr userDrawn="1"/>
        </p:nvSpPr>
        <p:spPr>
          <a:xfrm>
            <a:off x="6165474" y="1592263"/>
            <a:ext cx="2523897" cy="46085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468000" rIns="180000" bIns="144000" rtlCol="0" anchor="t"/>
          <a:lstStyle/>
          <a:p>
            <a:pPr algn="ctr"/>
            <a:endParaRPr lang="nl-NL" sz="1600">
              <a:solidFill>
                <a:schemeClr val="tx1"/>
              </a:solidFill>
              <a:uFill>
                <a:solidFill>
                  <a:srgbClr val="FFE819"/>
                </a:solidFill>
              </a:uFill>
              <a:latin typeface="+mj-lt"/>
            </a:endParaRPr>
          </a:p>
        </p:txBody>
      </p:sp>
      <p:sp>
        <p:nvSpPr>
          <p:cNvPr id="76" name="Text Placeholder 16">
            <a:extLst>
              <a:ext uri="{FF2B5EF4-FFF2-40B4-BE49-F238E27FC236}">
                <a16:creationId xmlns:a16="http://schemas.microsoft.com/office/drawing/2014/main" id="{6350B18A-4C7A-4978-BED9-F8CA3F7851C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91746" y="2618715"/>
            <a:ext cx="2273512" cy="778234"/>
          </a:xfrm>
        </p:spPr>
        <p:txBody>
          <a:bodyPr anchor="b">
            <a:normAutofit/>
          </a:bodyPr>
          <a:lstStyle>
            <a:lvl1pPr marL="0" algn="ctr" defTabSz="914400" rtl="0" eaLnBrk="1" latinLnBrk="0" hangingPunct="1">
              <a:defRPr lang="en-US" sz="2400" b="1" kern="1200" dirty="0" smtClean="0">
                <a:solidFill>
                  <a:schemeClr val="tx2"/>
                </a:solidFill>
                <a:uFill>
                  <a:solidFill>
                    <a:srgbClr val="FFE819"/>
                  </a:solidFill>
                </a:u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84149926-AEB6-41AF-B225-2B03505D5B8D}"/>
              </a:ext>
            </a:extLst>
          </p:cNvPr>
          <p:cNvSpPr/>
          <p:nvPr userDrawn="1"/>
        </p:nvSpPr>
        <p:spPr>
          <a:xfrm>
            <a:off x="7283697" y="3549427"/>
            <a:ext cx="309222" cy="7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+mj-lt"/>
            </a:endParaRPr>
          </a:p>
        </p:txBody>
      </p:sp>
      <p:sp>
        <p:nvSpPr>
          <p:cNvPr id="78" name="Text Placeholder 20">
            <a:extLst>
              <a:ext uri="{FF2B5EF4-FFF2-40B4-BE49-F238E27FC236}">
                <a16:creationId xmlns:a16="http://schemas.microsoft.com/office/drawing/2014/main" id="{CBE57870-6B13-4436-9AB0-B45ACC23401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91342" y="3773905"/>
            <a:ext cx="2274311" cy="2110395"/>
          </a:xfrm>
        </p:spPr>
        <p:txBody>
          <a:bodyPr/>
          <a:lstStyle>
            <a:lvl1pPr marL="230400" indent="-230400">
              <a:buFont typeface="Wingdings" panose="05000000000000000000" pitchFamily="2" charset="2"/>
              <a:buChar char="§"/>
              <a:defRPr sz="2000">
                <a:latin typeface="+mn-lt"/>
              </a:defRPr>
            </a:lvl1pPr>
            <a:lvl2pPr marL="460800">
              <a:defRPr/>
            </a:lvl2pPr>
            <a:lvl3pPr marL="691200">
              <a:defRPr/>
            </a:lvl3pPr>
            <a:lvl4pPr marL="921600">
              <a:defRPr/>
            </a:lvl4pPr>
            <a:lvl5pPr marL="1152000"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79" name="Rechthoek 3">
            <a:extLst>
              <a:ext uri="{FF2B5EF4-FFF2-40B4-BE49-F238E27FC236}">
                <a16:creationId xmlns:a16="http://schemas.microsoft.com/office/drawing/2014/main" id="{8C77416B-B3AD-4D67-B6D2-4ACF2DD6EDD0}"/>
              </a:ext>
            </a:extLst>
          </p:cNvPr>
          <p:cNvSpPr/>
          <p:nvPr userDrawn="1"/>
        </p:nvSpPr>
        <p:spPr>
          <a:xfrm>
            <a:off x="8828316" y="1592263"/>
            <a:ext cx="2523897" cy="46085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468000" rIns="180000" bIns="144000" rtlCol="0" anchor="t"/>
          <a:lstStyle/>
          <a:p>
            <a:pPr algn="ctr"/>
            <a:endParaRPr lang="nl-NL" sz="1600">
              <a:solidFill>
                <a:schemeClr val="tx1"/>
              </a:solidFill>
              <a:uFill>
                <a:solidFill>
                  <a:srgbClr val="FFE819"/>
                </a:solidFill>
              </a:uFill>
              <a:latin typeface="+mj-lt"/>
            </a:endParaRPr>
          </a:p>
        </p:txBody>
      </p:sp>
      <p:sp>
        <p:nvSpPr>
          <p:cNvPr id="80" name="Text Placeholder 16">
            <a:extLst>
              <a:ext uri="{FF2B5EF4-FFF2-40B4-BE49-F238E27FC236}">
                <a16:creationId xmlns:a16="http://schemas.microsoft.com/office/drawing/2014/main" id="{852EF0F1-F093-4E8C-A7D2-5130A61B0E5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54588" y="2618715"/>
            <a:ext cx="2273512" cy="778234"/>
          </a:xfrm>
        </p:spPr>
        <p:txBody>
          <a:bodyPr anchor="b">
            <a:normAutofit/>
          </a:bodyPr>
          <a:lstStyle>
            <a:lvl1pPr marL="0" algn="ctr" defTabSz="914400" rtl="0" eaLnBrk="1" latinLnBrk="0" hangingPunct="1">
              <a:defRPr lang="en-US" sz="2400" b="1" kern="1200" dirty="0" smtClean="0">
                <a:solidFill>
                  <a:schemeClr val="tx2"/>
                </a:solidFill>
                <a:uFill>
                  <a:solidFill>
                    <a:srgbClr val="FFE819"/>
                  </a:solidFill>
                </a:u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396AA952-17E9-41F2-A71E-4A8199C2B745}"/>
              </a:ext>
            </a:extLst>
          </p:cNvPr>
          <p:cNvSpPr/>
          <p:nvPr userDrawn="1"/>
        </p:nvSpPr>
        <p:spPr>
          <a:xfrm>
            <a:off x="9946539" y="3549427"/>
            <a:ext cx="309222" cy="7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+mj-lt"/>
            </a:endParaRPr>
          </a:p>
        </p:txBody>
      </p:sp>
      <p:sp>
        <p:nvSpPr>
          <p:cNvPr id="82" name="Text Placeholder 20">
            <a:extLst>
              <a:ext uri="{FF2B5EF4-FFF2-40B4-BE49-F238E27FC236}">
                <a16:creationId xmlns:a16="http://schemas.microsoft.com/office/drawing/2014/main" id="{6FF71E5F-F651-4629-9C5E-3DE7139EE63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954184" y="3773905"/>
            <a:ext cx="2274311" cy="2110395"/>
          </a:xfrm>
        </p:spPr>
        <p:txBody>
          <a:bodyPr/>
          <a:lstStyle>
            <a:lvl1pPr marL="230400" indent="-230400">
              <a:buFont typeface="Wingdings" panose="05000000000000000000" pitchFamily="2" charset="2"/>
              <a:buChar char="§"/>
              <a:defRPr sz="2000">
                <a:latin typeface="+mn-lt"/>
              </a:defRPr>
            </a:lvl1pPr>
            <a:lvl2pPr marL="460800">
              <a:defRPr/>
            </a:lvl2pPr>
            <a:lvl3pPr marL="691200">
              <a:defRPr/>
            </a:lvl3pPr>
            <a:lvl4pPr marL="921600">
              <a:defRPr/>
            </a:lvl4pPr>
            <a:lvl5pPr marL="1152000"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41E833E3-11DC-491F-9B58-E6B30A34C1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6612" y="736352"/>
            <a:ext cx="10515600" cy="703511"/>
          </a:xfrm>
          <a:prstGeom prst="rect">
            <a:avLst/>
          </a:prstGeom>
        </p:spPr>
        <p:txBody>
          <a:bodyPr anchor="t"/>
          <a:lstStyle>
            <a:lvl1pPr>
              <a:defRPr/>
            </a:lvl1pPr>
          </a:lstStyle>
          <a:p>
            <a:r>
              <a:rPr lang="nl-NL"/>
              <a:t>Hoofdtitel</a:t>
            </a:r>
            <a:endParaRPr lang="nl-BE"/>
          </a:p>
        </p:txBody>
      </p:sp>
      <p:sp>
        <p:nvSpPr>
          <p:cNvPr id="24" name="Tijdelijke aanduiding voor tekst 9">
            <a:extLst>
              <a:ext uri="{FF2B5EF4-FFF2-40B4-BE49-F238E27FC236}">
                <a16:creationId xmlns:a16="http://schemas.microsoft.com/office/drawing/2014/main" id="{73F24D1F-09B5-4D12-AAE2-ED1A62D13F3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6612" y="368300"/>
            <a:ext cx="10515599" cy="368052"/>
          </a:xfrm>
        </p:spPr>
        <p:txBody>
          <a:bodyPr anchor="ctr">
            <a:normAutofit/>
          </a:bodyPr>
          <a:lstStyle>
            <a:lvl1pPr>
              <a:defRPr sz="2000" b="0" u="none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nl-BE"/>
              <a:t>BOVENTITEL</a:t>
            </a:r>
          </a:p>
        </p:txBody>
      </p:sp>
      <p:sp>
        <p:nvSpPr>
          <p:cNvPr id="17" name="Online Image Placeholder 16">
            <a:extLst>
              <a:ext uri="{FF2B5EF4-FFF2-40B4-BE49-F238E27FC236}">
                <a16:creationId xmlns:a16="http://schemas.microsoft.com/office/drawing/2014/main" id="{A2B2B6C9-21C8-40FF-8EBE-697189CEC390}"/>
              </a:ext>
            </a:extLst>
          </p:cNvPr>
          <p:cNvSpPr>
            <a:spLocks noGrp="1"/>
          </p:cNvSpPr>
          <p:nvPr>
            <p:ph type="clipArt" sz="quarter" idx="27" hasCustomPrompt="1"/>
          </p:nvPr>
        </p:nvSpPr>
        <p:spPr>
          <a:xfrm>
            <a:off x="1652816" y="1714500"/>
            <a:ext cx="900000" cy="900000"/>
          </a:xfrm>
        </p:spPr>
        <p:txBody>
          <a:bodyPr/>
          <a:lstStyle/>
          <a:p>
            <a:r>
              <a:rPr lang="nl-BE"/>
              <a:t> </a:t>
            </a:r>
          </a:p>
        </p:txBody>
      </p:sp>
      <p:sp>
        <p:nvSpPr>
          <p:cNvPr id="33" name="Online Image Placeholder 16">
            <a:extLst>
              <a:ext uri="{FF2B5EF4-FFF2-40B4-BE49-F238E27FC236}">
                <a16:creationId xmlns:a16="http://schemas.microsoft.com/office/drawing/2014/main" id="{1CDE10C2-BA14-4E9C-AE63-B4D5DF640580}"/>
              </a:ext>
            </a:extLst>
          </p:cNvPr>
          <p:cNvSpPr>
            <a:spLocks noGrp="1"/>
          </p:cNvSpPr>
          <p:nvPr>
            <p:ph type="clipArt" sz="quarter" idx="28" hasCustomPrompt="1"/>
          </p:nvPr>
        </p:nvSpPr>
        <p:spPr>
          <a:xfrm>
            <a:off x="4314579" y="1714500"/>
            <a:ext cx="900000" cy="900000"/>
          </a:xfrm>
        </p:spPr>
        <p:txBody>
          <a:bodyPr/>
          <a:lstStyle/>
          <a:p>
            <a:r>
              <a:rPr lang="nl-BE"/>
              <a:t> </a:t>
            </a:r>
          </a:p>
        </p:txBody>
      </p:sp>
      <p:sp>
        <p:nvSpPr>
          <p:cNvPr id="34" name="Online Image Placeholder 16">
            <a:extLst>
              <a:ext uri="{FF2B5EF4-FFF2-40B4-BE49-F238E27FC236}">
                <a16:creationId xmlns:a16="http://schemas.microsoft.com/office/drawing/2014/main" id="{7C2AD36D-415D-48BE-AB94-91331126AFA1}"/>
              </a:ext>
            </a:extLst>
          </p:cNvPr>
          <p:cNvSpPr>
            <a:spLocks noGrp="1"/>
          </p:cNvSpPr>
          <p:nvPr>
            <p:ph type="clipArt" sz="quarter" idx="29" hasCustomPrompt="1"/>
          </p:nvPr>
        </p:nvSpPr>
        <p:spPr>
          <a:xfrm>
            <a:off x="6976342" y="1714500"/>
            <a:ext cx="900000" cy="900000"/>
          </a:xfrm>
        </p:spPr>
        <p:txBody>
          <a:bodyPr/>
          <a:lstStyle/>
          <a:p>
            <a:r>
              <a:rPr lang="nl-BE"/>
              <a:t> </a:t>
            </a:r>
          </a:p>
        </p:txBody>
      </p:sp>
      <p:sp>
        <p:nvSpPr>
          <p:cNvPr id="35" name="Online Image Placeholder 16">
            <a:extLst>
              <a:ext uri="{FF2B5EF4-FFF2-40B4-BE49-F238E27FC236}">
                <a16:creationId xmlns:a16="http://schemas.microsoft.com/office/drawing/2014/main" id="{EE73A52C-82A9-47E4-B6DA-E7F7D3C8BC8C}"/>
              </a:ext>
            </a:extLst>
          </p:cNvPr>
          <p:cNvSpPr>
            <a:spLocks noGrp="1"/>
          </p:cNvSpPr>
          <p:nvPr>
            <p:ph type="clipArt" sz="quarter" idx="30" hasCustomPrompt="1"/>
          </p:nvPr>
        </p:nvSpPr>
        <p:spPr>
          <a:xfrm>
            <a:off x="9638105" y="1714500"/>
            <a:ext cx="900000" cy="900000"/>
          </a:xfrm>
        </p:spPr>
        <p:txBody>
          <a:bodyPr/>
          <a:lstStyle/>
          <a:p>
            <a:r>
              <a:rPr lang="nl-B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68288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Tussentitel + Inhoud + Tekstva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troomdiagram: Handmatige invoer 3">
            <a:extLst>
              <a:ext uri="{FF2B5EF4-FFF2-40B4-BE49-F238E27FC236}">
                <a16:creationId xmlns:a16="http://schemas.microsoft.com/office/drawing/2014/main" id="{6F7878C3-37F8-42E2-A6B1-6EE2459B62A5}"/>
              </a:ext>
            </a:extLst>
          </p:cNvPr>
          <p:cNvSpPr/>
          <p:nvPr userDrawn="1"/>
        </p:nvSpPr>
        <p:spPr>
          <a:xfrm rot="16200000">
            <a:off x="5715000" y="380997"/>
            <a:ext cx="6857999" cy="609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0" name="Tijdelijke aanduiding voor inhoud 2">
            <a:extLst>
              <a:ext uri="{FF2B5EF4-FFF2-40B4-BE49-F238E27FC236}">
                <a16:creationId xmlns:a16="http://schemas.microsoft.com/office/drawing/2014/main" id="{C8CDFBAB-2DE5-4AEE-947D-37C2E4EF0F0A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839939" y="1592263"/>
            <a:ext cx="4905542" cy="45847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l-NL"/>
              <a:t>Eerste niveau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9" name="Tijdelijke aanduiding voor inhoud 2">
            <a:extLst>
              <a:ext uri="{FF2B5EF4-FFF2-40B4-BE49-F238E27FC236}">
                <a16:creationId xmlns:a16="http://schemas.microsoft.com/office/drawing/2014/main" id="{93691594-47BC-427F-8BBA-D7A1EAF55FFC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446839" y="736352"/>
            <a:ext cx="4905542" cy="544061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l-NL"/>
              <a:t>Eerste niveau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11" name="Tijdelijke aanduiding voor tekst 9">
            <a:extLst>
              <a:ext uri="{FF2B5EF4-FFF2-40B4-BE49-F238E27FC236}">
                <a16:creationId xmlns:a16="http://schemas.microsoft.com/office/drawing/2014/main" id="{C5A24CB9-ECD1-4A83-B00E-85A4C4BCB33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6613" y="368300"/>
            <a:ext cx="4906800" cy="368052"/>
          </a:xfrm>
        </p:spPr>
        <p:txBody>
          <a:bodyPr anchor="ctr">
            <a:normAutofit/>
          </a:bodyPr>
          <a:lstStyle>
            <a:lvl1pPr>
              <a:defRPr sz="2000" b="0" u="none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nl-BE"/>
              <a:t>BOVENTITEL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64EBC0AB-6766-4F5D-A26C-E71B13B6C3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6612" y="736352"/>
            <a:ext cx="4906800" cy="703511"/>
          </a:xfrm>
          <a:prstGeom prst="rect">
            <a:avLst/>
          </a:prstGeom>
        </p:spPr>
        <p:txBody>
          <a:bodyPr anchor="t"/>
          <a:lstStyle>
            <a:lvl1pPr>
              <a:defRPr/>
            </a:lvl1pPr>
          </a:lstStyle>
          <a:p>
            <a:r>
              <a:rPr lang="nl-NL"/>
              <a:t>Hoofdtitel</a:t>
            </a:r>
            <a:endParaRPr lang="nl-BE"/>
          </a:p>
        </p:txBody>
      </p:sp>
      <p:sp>
        <p:nvSpPr>
          <p:cNvPr id="14" name="Tijdelijke aanduiding voor voettekst 4">
            <a:extLst>
              <a:ext uri="{FF2B5EF4-FFF2-40B4-BE49-F238E27FC236}">
                <a16:creationId xmlns:a16="http://schemas.microsoft.com/office/drawing/2014/main" id="{1A6ED0F1-A7B3-44FA-AED6-57570D85E0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44981"/>
            <a:ext cx="4833425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nl-BE"/>
              <a:t>Voettekst</a:t>
            </a:r>
          </a:p>
        </p:txBody>
      </p:sp>
      <p:sp>
        <p:nvSpPr>
          <p:cNvPr id="15" name="Tijdelijke aanduiding voor dianummer 5">
            <a:extLst>
              <a:ext uri="{FF2B5EF4-FFF2-40B4-BE49-F238E27FC236}">
                <a16:creationId xmlns:a16="http://schemas.microsoft.com/office/drawing/2014/main" id="{26EDFBB5-F609-4AAD-96D6-7DEBAC1310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14012" y="6344982"/>
            <a:ext cx="838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 b="1">
                <a:solidFill>
                  <a:schemeClr val="tx1"/>
                </a:solidFill>
                <a:latin typeface="+mj-lt"/>
              </a:defRPr>
            </a:lvl1pPr>
          </a:lstStyle>
          <a:p>
            <a:fld id="{1EABE038-A425-4CC0-917A-1DC3ED725B2E}" type="slidenum">
              <a:rPr lang="nl-BE" smtClean="0"/>
              <a:pPr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8233201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Tussentitel + Foto link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39A00E47-68C0-4DBD-AB0F-CD7342B025E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9788" y="1592263"/>
            <a:ext cx="4906800" cy="460482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l-NL"/>
              <a:t>Eerste niveau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6F45857B-E452-48F1-B0B6-4B82FEC46E0F}"/>
              </a:ext>
            </a:extLst>
          </p:cNvPr>
          <p:cNvSpPr/>
          <p:nvPr userDrawn="1"/>
        </p:nvSpPr>
        <p:spPr>
          <a:xfrm>
            <a:off x="0" y="0"/>
            <a:ext cx="219456" cy="6858000"/>
          </a:xfrm>
          <a:prstGeom prst="rect">
            <a:avLst/>
          </a:prstGeom>
          <a:solidFill>
            <a:srgbClr val="FF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9" name="Tijdelijke aanduiding voor afbeelding 8">
            <a:extLst>
              <a:ext uri="{FF2B5EF4-FFF2-40B4-BE49-F238E27FC236}">
                <a16:creationId xmlns:a16="http://schemas.microsoft.com/office/drawing/2014/main" id="{4A6EAFCF-630E-4828-B0AE-F266C9D2C88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1" y="0"/>
            <a:ext cx="6096000" cy="685800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err="1"/>
              <a:t>Klik</a:t>
            </a:r>
            <a:r>
              <a:rPr lang="en-US"/>
              <a:t> op </a:t>
            </a:r>
            <a:r>
              <a:rPr lang="en-US" err="1"/>
              <a:t>icoon</a:t>
            </a:r>
            <a:r>
              <a:rPr lang="en-US"/>
              <a:t> </a:t>
            </a:r>
            <a:r>
              <a:rPr lang="en-US" err="1"/>
              <a:t>voor</a:t>
            </a:r>
            <a:r>
              <a:rPr lang="en-US"/>
              <a:t> </a:t>
            </a:r>
            <a:r>
              <a:rPr lang="en-US" err="1"/>
              <a:t>foto</a:t>
            </a:r>
            <a:r>
              <a:rPr lang="en-US"/>
              <a:t> (min </a:t>
            </a:r>
            <a:r>
              <a:rPr lang="nl-BE"/>
              <a:t>resolutie </a:t>
            </a:r>
            <a:r>
              <a:rPr lang="en-US"/>
              <a:t>72 DPI</a:t>
            </a:r>
            <a:r>
              <a:rPr lang="nl-BE"/>
              <a:t>)</a:t>
            </a:r>
          </a:p>
        </p:txBody>
      </p:sp>
      <p:sp>
        <p:nvSpPr>
          <p:cNvPr id="12" name="Tijdelijke aanduiding voor tekst 9">
            <a:extLst>
              <a:ext uri="{FF2B5EF4-FFF2-40B4-BE49-F238E27FC236}">
                <a16:creationId xmlns:a16="http://schemas.microsoft.com/office/drawing/2014/main" id="{D2F4A0A4-E99E-4B0A-A8B5-EC694F0B8A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6613" y="368300"/>
            <a:ext cx="4906800" cy="368052"/>
          </a:xfrm>
        </p:spPr>
        <p:txBody>
          <a:bodyPr anchor="ctr">
            <a:normAutofit/>
          </a:bodyPr>
          <a:lstStyle>
            <a:lvl1pPr>
              <a:defRPr sz="2000" b="0" u="none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nl-BE"/>
              <a:t>BOVENTITEL</a:t>
            </a: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2EE646F3-A5C5-40DF-8A05-BBF9145DF4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6612" y="736352"/>
            <a:ext cx="4906800" cy="703511"/>
          </a:xfrm>
          <a:prstGeom prst="rect">
            <a:avLst/>
          </a:prstGeom>
        </p:spPr>
        <p:txBody>
          <a:bodyPr anchor="t"/>
          <a:lstStyle>
            <a:lvl1pPr>
              <a:defRPr/>
            </a:lvl1pPr>
          </a:lstStyle>
          <a:p>
            <a:r>
              <a:rPr lang="nl-NL"/>
              <a:t>Hoofdtitel</a:t>
            </a:r>
            <a:endParaRPr lang="nl-BE"/>
          </a:p>
        </p:txBody>
      </p:sp>
      <p:sp>
        <p:nvSpPr>
          <p:cNvPr id="14" name="Tijdelijke aanduiding voor voettekst 4">
            <a:extLst>
              <a:ext uri="{FF2B5EF4-FFF2-40B4-BE49-F238E27FC236}">
                <a16:creationId xmlns:a16="http://schemas.microsoft.com/office/drawing/2014/main" id="{327E91DB-C2B6-473A-A20A-A5AE3628EE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44981"/>
            <a:ext cx="4833425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nl-BE"/>
              <a:t>Voettekst</a:t>
            </a:r>
          </a:p>
        </p:txBody>
      </p:sp>
      <p:sp>
        <p:nvSpPr>
          <p:cNvPr id="15" name="Tijdelijke aanduiding voor dianummer 5">
            <a:extLst>
              <a:ext uri="{FF2B5EF4-FFF2-40B4-BE49-F238E27FC236}">
                <a16:creationId xmlns:a16="http://schemas.microsoft.com/office/drawing/2014/main" id="{F3DF618A-F0A4-4257-977E-9370603816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14012" y="6344982"/>
            <a:ext cx="838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 b="1">
                <a:solidFill>
                  <a:schemeClr val="tx1"/>
                </a:solidFill>
                <a:latin typeface="+mj-lt"/>
              </a:defRPr>
            </a:lvl1pPr>
          </a:lstStyle>
          <a:p>
            <a:fld id="{1EABE038-A425-4CC0-917A-1DC3ED725B2E}" type="slidenum">
              <a:rPr lang="nl-BE" smtClean="0"/>
              <a:pPr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5914853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">
    <p:bg>
      <p:bgPr>
        <a:solidFill>
          <a:srgbClr val="FFEB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656B493A-0700-4CB6-9422-17D80DF1F1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56698" y="2757195"/>
            <a:ext cx="9595514" cy="1343609"/>
          </a:xfrm>
          <a:solidFill>
            <a:srgbClr val="FFEB00"/>
          </a:solidFill>
        </p:spPr>
        <p:txBody>
          <a:bodyPr anchor="ctr"/>
          <a:lstStyle>
            <a:lvl1pPr marL="0" indent="0" algn="l" defTabSz="914377" rtl="0" eaLnBrk="1" latinLnBrk="0" hangingPunct="1">
              <a:buFontTx/>
              <a:buNone/>
              <a:defRPr lang="nl-NL" sz="4800" b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0" indent="0" algn="l" defTabSz="914377" rtl="0" eaLnBrk="1" latinLnBrk="0" hangingPunct="1">
              <a:buFontTx/>
              <a:buNone/>
              <a:defRPr lang="nl-NL" sz="3733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7" rtl="0" eaLnBrk="1" latinLnBrk="0" hangingPunct="1">
              <a:buFontTx/>
              <a:buNone/>
              <a:defRPr lang="nl-NL" sz="3733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77" rtl="0" eaLnBrk="1" latinLnBrk="0" hangingPunct="1">
              <a:buFontTx/>
              <a:buNone/>
              <a:defRPr lang="nl-NL" sz="3733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77" rtl="0" eaLnBrk="1" latinLnBrk="0" hangingPunct="1">
              <a:buFontTx/>
              <a:buNone/>
              <a:defRPr lang="nl-BE" sz="37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nl-NL"/>
              <a:t>Highlight</a:t>
            </a:r>
            <a:endParaRPr lang="nl-BE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F793950-6E94-4C9C-9F08-E5E3DC86771F}"/>
              </a:ext>
            </a:extLst>
          </p:cNvPr>
          <p:cNvCxnSpPr/>
          <p:nvPr userDrawn="1"/>
        </p:nvCxnSpPr>
        <p:spPr>
          <a:xfrm>
            <a:off x="839788" y="2757196"/>
            <a:ext cx="475861" cy="134360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jdelijke aanduiding voor voettekst 4">
            <a:extLst>
              <a:ext uri="{FF2B5EF4-FFF2-40B4-BE49-F238E27FC236}">
                <a16:creationId xmlns:a16="http://schemas.microsoft.com/office/drawing/2014/main" id="{FEADFD0C-1342-4DBE-BBA6-0F8B8EB404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44981"/>
            <a:ext cx="4833425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nl-BE"/>
              <a:t>Voettekst</a:t>
            </a:r>
          </a:p>
        </p:txBody>
      </p:sp>
      <p:sp>
        <p:nvSpPr>
          <p:cNvPr id="7" name="Tijdelijke aanduiding voor dianummer 5">
            <a:extLst>
              <a:ext uri="{FF2B5EF4-FFF2-40B4-BE49-F238E27FC236}">
                <a16:creationId xmlns:a16="http://schemas.microsoft.com/office/drawing/2014/main" id="{05684A5A-EFC0-4F17-B1FF-0499C8B9DB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14012" y="6344982"/>
            <a:ext cx="838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 b="1">
                <a:solidFill>
                  <a:schemeClr val="tx1"/>
                </a:solidFill>
                <a:latin typeface="+mj-lt"/>
              </a:defRPr>
            </a:lvl1pPr>
          </a:lstStyle>
          <a:p>
            <a:fld id="{1EABE038-A425-4CC0-917A-1DC3ED725B2E}" type="slidenum">
              <a:rPr lang="nl-BE" smtClean="0"/>
              <a:pPr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695207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0880DB12-4075-4207-B6AA-7800E4F122E2}"/>
              </a:ext>
            </a:extLst>
          </p:cNvPr>
          <p:cNvSpPr/>
          <p:nvPr userDrawn="1"/>
        </p:nvSpPr>
        <p:spPr>
          <a:xfrm>
            <a:off x="2148289" y="1872866"/>
            <a:ext cx="10043711" cy="27165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180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40CF25B6-16E2-4E2C-A3F5-C4E83127495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467897" y="2192357"/>
            <a:ext cx="8884317" cy="2104220"/>
          </a:xfrm>
        </p:spPr>
        <p:txBody>
          <a:bodyPr anchor="ctr" anchorCtr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4400" b="1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/>
              <a:t>Quote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428D9E02-34B7-4AA9-A820-3BFB70B95D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CC43F41A-8FBB-4AE1-9593-E17E909EE6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ABE038-A425-4CC0-917A-1DC3ED725B2E}" type="slidenum">
              <a:rPr lang="nl-BE" smtClean="0"/>
              <a:t>‹nr.›</a:t>
            </a:fld>
            <a:endParaRPr lang="nl-BE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9554821F-9E1A-4BA4-9134-CC73E4409158}"/>
              </a:ext>
            </a:extLst>
          </p:cNvPr>
          <p:cNvSpPr/>
          <p:nvPr userDrawn="1"/>
        </p:nvSpPr>
        <p:spPr>
          <a:xfrm>
            <a:off x="839788" y="1389235"/>
            <a:ext cx="1037844" cy="749726"/>
          </a:xfrm>
          <a:custGeom>
            <a:avLst/>
            <a:gdLst/>
            <a:ahLst/>
            <a:cxnLst/>
            <a:rect l="l" t="t" r="r" b="b"/>
            <a:pathLst>
              <a:path w="1037844" h="749726">
                <a:moveTo>
                  <a:pt x="959709" y="0"/>
                </a:moveTo>
                <a:lnTo>
                  <a:pt x="1037844" y="100459"/>
                </a:lnTo>
                <a:cubicBezTo>
                  <a:pt x="1008815" y="149138"/>
                  <a:pt x="986413" y="192702"/>
                  <a:pt x="970639" y="231149"/>
                </a:cubicBezTo>
                <a:cubicBezTo>
                  <a:pt x="954865" y="269596"/>
                  <a:pt x="946881" y="306648"/>
                  <a:pt x="946687" y="342305"/>
                </a:cubicBezTo>
                <a:cubicBezTo>
                  <a:pt x="946571" y="372458"/>
                  <a:pt x="953314" y="403309"/>
                  <a:pt x="966918" y="434857"/>
                </a:cubicBezTo>
                <a:cubicBezTo>
                  <a:pt x="980522" y="466406"/>
                  <a:pt x="1001684" y="501908"/>
                  <a:pt x="1030403" y="541363"/>
                </a:cubicBezTo>
                <a:cubicBezTo>
                  <a:pt x="1030170" y="570392"/>
                  <a:pt x="1024589" y="597444"/>
                  <a:pt x="1013660" y="622520"/>
                </a:cubicBezTo>
                <a:cubicBezTo>
                  <a:pt x="1002730" y="647596"/>
                  <a:pt x="987847" y="669533"/>
                  <a:pt x="969011" y="688330"/>
                </a:cubicBezTo>
                <a:cubicBezTo>
                  <a:pt x="950214" y="707166"/>
                  <a:pt x="928277" y="722049"/>
                  <a:pt x="903201" y="732979"/>
                </a:cubicBezTo>
                <a:cubicBezTo>
                  <a:pt x="878125" y="743909"/>
                  <a:pt x="851073" y="749490"/>
                  <a:pt x="822043" y="749722"/>
                </a:cubicBezTo>
                <a:cubicBezTo>
                  <a:pt x="799370" y="749877"/>
                  <a:pt x="775883" y="745846"/>
                  <a:pt x="751583" y="737630"/>
                </a:cubicBezTo>
                <a:cubicBezTo>
                  <a:pt x="727282" y="729413"/>
                  <a:pt x="704260" y="716081"/>
                  <a:pt x="682517" y="697632"/>
                </a:cubicBezTo>
                <a:cubicBezTo>
                  <a:pt x="659883" y="680036"/>
                  <a:pt x="641899" y="656627"/>
                  <a:pt x="628567" y="627404"/>
                </a:cubicBezTo>
                <a:cubicBezTo>
                  <a:pt x="615234" y="598181"/>
                  <a:pt x="608413" y="562679"/>
                  <a:pt x="608103" y="520899"/>
                </a:cubicBezTo>
                <a:cubicBezTo>
                  <a:pt x="608684" y="467452"/>
                  <a:pt x="619614" y="414355"/>
                  <a:pt x="640892" y="361606"/>
                </a:cubicBezTo>
                <a:cubicBezTo>
                  <a:pt x="662169" y="308857"/>
                  <a:pt x="690307" y="259015"/>
                  <a:pt x="725305" y="212080"/>
                </a:cubicBezTo>
                <a:cubicBezTo>
                  <a:pt x="760187" y="165223"/>
                  <a:pt x="797859" y="123597"/>
                  <a:pt x="838321" y="87204"/>
                </a:cubicBezTo>
                <a:cubicBezTo>
                  <a:pt x="878784" y="50811"/>
                  <a:pt x="919247" y="21743"/>
                  <a:pt x="959709" y="0"/>
                </a:cubicBezTo>
                <a:close/>
                <a:moveTo>
                  <a:pt x="349747" y="0"/>
                </a:moveTo>
                <a:lnTo>
                  <a:pt x="429730" y="100459"/>
                </a:lnTo>
                <a:cubicBezTo>
                  <a:pt x="399893" y="149138"/>
                  <a:pt x="377262" y="192702"/>
                  <a:pt x="361837" y="231149"/>
                </a:cubicBezTo>
                <a:cubicBezTo>
                  <a:pt x="346413" y="269596"/>
                  <a:pt x="338662" y="306648"/>
                  <a:pt x="338584" y="342305"/>
                </a:cubicBezTo>
                <a:cubicBezTo>
                  <a:pt x="338391" y="372458"/>
                  <a:pt x="344824" y="403309"/>
                  <a:pt x="357886" y="434857"/>
                </a:cubicBezTo>
                <a:cubicBezTo>
                  <a:pt x="370947" y="466406"/>
                  <a:pt x="391798" y="501908"/>
                  <a:pt x="420440" y="541363"/>
                </a:cubicBezTo>
                <a:cubicBezTo>
                  <a:pt x="420207" y="570392"/>
                  <a:pt x="414626" y="597444"/>
                  <a:pt x="403697" y="622520"/>
                </a:cubicBezTo>
                <a:cubicBezTo>
                  <a:pt x="392767" y="647596"/>
                  <a:pt x="377884" y="669533"/>
                  <a:pt x="359048" y="688330"/>
                </a:cubicBezTo>
                <a:cubicBezTo>
                  <a:pt x="340251" y="707166"/>
                  <a:pt x="318314" y="722049"/>
                  <a:pt x="293238" y="732979"/>
                </a:cubicBezTo>
                <a:cubicBezTo>
                  <a:pt x="268162" y="743909"/>
                  <a:pt x="241110" y="749490"/>
                  <a:pt x="212081" y="749722"/>
                </a:cubicBezTo>
                <a:cubicBezTo>
                  <a:pt x="189408" y="749877"/>
                  <a:pt x="165921" y="745846"/>
                  <a:pt x="141620" y="737630"/>
                </a:cubicBezTo>
                <a:cubicBezTo>
                  <a:pt x="117319" y="729413"/>
                  <a:pt x="94297" y="716081"/>
                  <a:pt x="72554" y="697632"/>
                </a:cubicBezTo>
                <a:cubicBezTo>
                  <a:pt x="50811" y="680036"/>
                  <a:pt x="33371" y="656627"/>
                  <a:pt x="20232" y="627404"/>
                </a:cubicBezTo>
                <a:cubicBezTo>
                  <a:pt x="7093" y="598181"/>
                  <a:pt x="349" y="562679"/>
                  <a:pt x="0" y="520899"/>
                </a:cubicBezTo>
                <a:cubicBezTo>
                  <a:pt x="582" y="467452"/>
                  <a:pt x="11511" y="414355"/>
                  <a:pt x="32789" y="361606"/>
                </a:cubicBezTo>
                <a:cubicBezTo>
                  <a:pt x="54067" y="308857"/>
                  <a:pt x="82205" y="259015"/>
                  <a:pt x="117203" y="212080"/>
                </a:cubicBezTo>
                <a:cubicBezTo>
                  <a:pt x="151193" y="165223"/>
                  <a:pt x="188322" y="123597"/>
                  <a:pt x="228591" y="87204"/>
                </a:cubicBezTo>
                <a:cubicBezTo>
                  <a:pt x="268860" y="50811"/>
                  <a:pt x="309245" y="21743"/>
                  <a:pt x="349747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B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9251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el vl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2B140009-D296-44AC-9500-69C690B03F1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10158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76102AC0-F19C-45A3-9A9D-B0D64DB004C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17714" y="0"/>
            <a:ext cx="8015140" cy="6857999"/>
          </a:xfrm>
          <a:custGeom>
            <a:avLst/>
            <a:gdLst>
              <a:gd name="connsiteX0" fmla="*/ 0 w 8232854"/>
              <a:gd name="connsiteY0" fmla="*/ 0 h 6857999"/>
              <a:gd name="connsiteX1" fmla="*/ 5883438 w 8232854"/>
              <a:gd name="connsiteY1" fmla="*/ 0 h 6857999"/>
              <a:gd name="connsiteX2" fmla="*/ 8232854 w 8232854"/>
              <a:gd name="connsiteY2" fmla="*/ 6844108 h 6857999"/>
              <a:gd name="connsiteX3" fmla="*/ 607 w 8232854"/>
              <a:gd name="connsiteY3" fmla="*/ 6857999 h 6857999"/>
              <a:gd name="connsiteX4" fmla="*/ 0 w 8232854"/>
              <a:gd name="connsiteY4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32854" h="6857999">
                <a:moveTo>
                  <a:pt x="0" y="0"/>
                </a:moveTo>
                <a:lnTo>
                  <a:pt x="5883438" y="0"/>
                </a:lnTo>
                <a:lnTo>
                  <a:pt x="8232854" y="6844108"/>
                </a:lnTo>
                <a:lnTo>
                  <a:pt x="607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err="1"/>
              <a:t>Klik</a:t>
            </a:r>
            <a:r>
              <a:rPr lang="en-US"/>
              <a:t> op </a:t>
            </a:r>
            <a:r>
              <a:rPr lang="en-US" err="1"/>
              <a:t>icoon</a:t>
            </a:r>
            <a:r>
              <a:rPr lang="en-US"/>
              <a:t> </a:t>
            </a:r>
            <a:r>
              <a:rPr lang="en-US" err="1"/>
              <a:t>voor</a:t>
            </a:r>
            <a:r>
              <a:rPr lang="en-US"/>
              <a:t> </a:t>
            </a:r>
            <a:r>
              <a:rPr lang="en-US" err="1"/>
              <a:t>foto</a:t>
            </a:r>
            <a:r>
              <a:rPr lang="en-US"/>
              <a:t> (min </a:t>
            </a:r>
            <a:r>
              <a:rPr lang="nl-BE"/>
              <a:t>resolutie </a:t>
            </a:r>
            <a:r>
              <a:rPr lang="en-US"/>
              <a:t>72 DPI</a:t>
            </a:r>
            <a:r>
              <a:rPr lang="nl-BE"/>
              <a:t>)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428D9E02-34B7-4AA9-A820-3BFB70B95D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CC43F41A-8FBB-4AE1-9593-E17E909EE6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ABE038-A425-4CC0-917A-1DC3ED725B2E}" type="slidenum">
              <a:rPr lang="nl-BE" smtClean="0"/>
              <a:t>‹nr.›</a:t>
            </a:fld>
            <a:endParaRPr lang="nl-BE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938A7250-1A84-484F-8ED9-8FAD13CC72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09771" y="731520"/>
            <a:ext cx="3042442" cy="5469256"/>
          </a:xfrm>
        </p:spPr>
        <p:txBody>
          <a:bodyPr anchor="ctr" anchorCtr="0">
            <a:normAutofit/>
          </a:bodyPr>
          <a:lstStyle>
            <a:lvl1pPr algn="r">
              <a:defRPr sz="4400" b="1">
                <a:latin typeface="+mj-lt"/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l-NL"/>
              <a:t>Quote</a:t>
            </a:r>
            <a:endParaRPr lang="nl-BE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52B16C0A-8A9F-4770-8F4E-140648204FC1}"/>
              </a:ext>
            </a:extLst>
          </p:cNvPr>
          <p:cNvSpPr/>
          <p:nvPr userDrawn="1"/>
        </p:nvSpPr>
        <p:spPr>
          <a:xfrm>
            <a:off x="7282531" y="731520"/>
            <a:ext cx="1037844" cy="749726"/>
          </a:xfrm>
          <a:custGeom>
            <a:avLst/>
            <a:gdLst/>
            <a:ahLst/>
            <a:cxnLst/>
            <a:rect l="l" t="t" r="r" b="b"/>
            <a:pathLst>
              <a:path w="1037844" h="749726">
                <a:moveTo>
                  <a:pt x="959709" y="0"/>
                </a:moveTo>
                <a:lnTo>
                  <a:pt x="1037844" y="100459"/>
                </a:lnTo>
                <a:cubicBezTo>
                  <a:pt x="1008815" y="149138"/>
                  <a:pt x="986413" y="192702"/>
                  <a:pt x="970639" y="231149"/>
                </a:cubicBezTo>
                <a:cubicBezTo>
                  <a:pt x="954865" y="269596"/>
                  <a:pt x="946881" y="306648"/>
                  <a:pt x="946687" y="342305"/>
                </a:cubicBezTo>
                <a:cubicBezTo>
                  <a:pt x="946571" y="372458"/>
                  <a:pt x="953314" y="403309"/>
                  <a:pt x="966918" y="434857"/>
                </a:cubicBezTo>
                <a:cubicBezTo>
                  <a:pt x="980522" y="466406"/>
                  <a:pt x="1001684" y="501908"/>
                  <a:pt x="1030403" y="541363"/>
                </a:cubicBezTo>
                <a:cubicBezTo>
                  <a:pt x="1030170" y="570392"/>
                  <a:pt x="1024589" y="597444"/>
                  <a:pt x="1013660" y="622520"/>
                </a:cubicBezTo>
                <a:cubicBezTo>
                  <a:pt x="1002730" y="647596"/>
                  <a:pt x="987847" y="669533"/>
                  <a:pt x="969011" y="688330"/>
                </a:cubicBezTo>
                <a:cubicBezTo>
                  <a:pt x="950214" y="707166"/>
                  <a:pt x="928277" y="722049"/>
                  <a:pt x="903201" y="732979"/>
                </a:cubicBezTo>
                <a:cubicBezTo>
                  <a:pt x="878125" y="743909"/>
                  <a:pt x="851073" y="749490"/>
                  <a:pt x="822043" y="749722"/>
                </a:cubicBezTo>
                <a:cubicBezTo>
                  <a:pt x="799370" y="749877"/>
                  <a:pt x="775883" y="745846"/>
                  <a:pt x="751583" y="737630"/>
                </a:cubicBezTo>
                <a:cubicBezTo>
                  <a:pt x="727282" y="729413"/>
                  <a:pt x="704260" y="716081"/>
                  <a:pt x="682517" y="697632"/>
                </a:cubicBezTo>
                <a:cubicBezTo>
                  <a:pt x="659883" y="680036"/>
                  <a:pt x="641899" y="656627"/>
                  <a:pt x="628567" y="627404"/>
                </a:cubicBezTo>
                <a:cubicBezTo>
                  <a:pt x="615234" y="598181"/>
                  <a:pt x="608413" y="562679"/>
                  <a:pt x="608103" y="520899"/>
                </a:cubicBezTo>
                <a:cubicBezTo>
                  <a:pt x="608684" y="467452"/>
                  <a:pt x="619614" y="414355"/>
                  <a:pt x="640892" y="361606"/>
                </a:cubicBezTo>
                <a:cubicBezTo>
                  <a:pt x="662169" y="308857"/>
                  <a:pt x="690307" y="259015"/>
                  <a:pt x="725305" y="212080"/>
                </a:cubicBezTo>
                <a:cubicBezTo>
                  <a:pt x="760187" y="165223"/>
                  <a:pt x="797859" y="123597"/>
                  <a:pt x="838321" y="87204"/>
                </a:cubicBezTo>
                <a:cubicBezTo>
                  <a:pt x="878784" y="50811"/>
                  <a:pt x="919247" y="21743"/>
                  <a:pt x="959709" y="0"/>
                </a:cubicBezTo>
                <a:close/>
                <a:moveTo>
                  <a:pt x="349747" y="0"/>
                </a:moveTo>
                <a:lnTo>
                  <a:pt x="429730" y="100459"/>
                </a:lnTo>
                <a:cubicBezTo>
                  <a:pt x="399893" y="149138"/>
                  <a:pt x="377262" y="192702"/>
                  <a:pt x="361837" y="231149"/>
                </a:cubicBezTo>
                <a:cubicBezTo>
                  <a:pt x="346413" y="269596"/>
                  <a:pt x="338662" y="306648"/>
                  <a:pt x="338584" y="342305"/>
                </a:cubicBezTo>
                <a:cubicBezTo>
                  <a:pt x="338391" y="372458"/>
                  <a:pt x="344824" y="403309"/>
                  <a:pt x="357886" y="434857"/>
                </a:cubicBezTo>
                <a:cubicBezTo>
                  <a:pt x="370947" y="466406"/>
                  <a:pt x="391798" y="501908"/>
                  <a:pt x="420440" y="541363"/>
                </a:cubicBezTo>
                <a:cubicBezTo>
                  <a:pt x="420207" y="570392"/>
                  <a:pt x="414626" y="597444"/>
                  <a:pt x="403697" y="622520"/>
                </a:cubicBezTo>
                <a:cubicBezTo>
                  <a:pt x="392767" y="647596"/>
                  <a:pt x="377884" y="669533"/>
                  <a:pt x="359048" y="688330"/>
                </a:cubicBezTo>
                <a:cubicBezTo>
                  <a:pt x="340251" y="707166"/>
                  <a:pt x="318314" y="722049"/>
                  <a:pt x="293238" y="732979"/>
                </a:cubicBezTo>
                <a:cubicBezTo>
                  <a:pt x="268162" y="743909"/>
                  <a:pt x="241110" y="749490"/>
                  <a:pt x="212081" y="749722"/>
                </a:cubicBezTo>
                <a:cubicBezTo>
                  <a:pt x="189408" y="749877"/>
                  <a:pt x="165921" y="745846"/>
                  <a:pt x="141620" y="737630"/>
                </a:cubicBezTo>
                <a:cubicBezTo>
                  <a:pt x="117319" y="729413"/>
                  <a:pt x="94297" y="716081"/>
                  <a:pt x="72554" y="697632"/>
                </a:cubicBezTo>
                <a:cubicBezTo>
                  <a:pt x="50811" y="680036"/>
                  <a:pt x="33371" y="656627"/>
                  <a:pt x="20232" y="627404"/>
                </a:cubicBezTo>
                <a:cubicBezTo>
                  <a:pt x="7093" y="598181"/>
                  <a:pt x="349" y="562679"/>
                  <a:pt x="0" y="520899"/>
                </a:cubicBezTo>
                <a:cubicBezTo>
                  <a:pt x="582" y="467452"/>
                  <a:pt x="11511" y="414355"/>
                  <a:pt x="32789" y="361606"/>
                </a:cubicBezTo>
                <a:cubicBezTo>
                  <a:pt x="54067" y="308857"/>
                  <a:pt x="82205" y="259015"/>
                  <a:pt x="117203" y="212080"/>
                </a:cubicBezTo>
                <a:cubicBezTo>
                  <a:pt x="151193" y="165223"/>
                  <a:pt x="188322" y="123597"/>
                  <a:pt x="228591" y="87204"/>
                </a:cubicBezTo>
                <a:cubicBezTo>
                  <a:pt x="268860" y="50811"/>
                  <a:pt x="309245" y="21743"/>
                  <a:pt x="349747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967123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1A646AE-525C-4E05-AC23-070AEB611B8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AA4E71-19A2-489E-A860-0F722BD3963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ABE038-A425-4CC0-917A-1DC3ED725B2E}" type="slidenum">
              <a:rPr lang="nl-BE" smtClean="0"/>
              <a:pPr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886297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68E365-9778-4C40-AA58-C17DCFF706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7A015D-CC98-4ECA-BDBA-F0297C2169B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16A5E5-BDF0-4E7D-803E-FE61AE47C41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ABE038-A425-4CC0-917A-1DC3ED725B2E}" type="slidenum">
              <a:rPr lang="nl-BE" smtClean="0"/>
              <a:pPr/>
              <a:t>‹nr.›</a:t>
            </a:fld>
            <a:endParaRPr lang="nl-BE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3D95701-A0B9-4CE4-8280-12966CBFBB4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592263"/>
            <a:ext cx="10514013" cy="4608513"/>
          </a:xfrm>
        </p:spPr>
        <p:txBody>
          <a:bodyPr/>
          <a:lstStyle>
            <a:lvl1pPr marL="396000" indent="-396000">
              <a:buSzPct val="114000"/>
              <a:buFontTx/>
              <a:buBlip>
                <a:blip r:embed="rId2"/>
              </a:buBlip>
              <a:defRPr sz="2800"/>
            </a:lvl1pPr>
            <a:lvl2pPr marL="648000">
              <a:defRPr/>
            </a:lvl2pPr>
            <a:lvl3pPr marL="864000">
              <a:defRPr/>
            </a:lvl3pPr>
            <a:lvl4pPr marL="1080000">
              <a:defRPr/>
            </a:lvl4pPr>
            <a:lvl5pPr marL="1296000"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7483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clus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68E365-9778-4C40-AA58-C17DCFF706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7A015D-CC98-4ECA-BDBA-F0297C2169B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16A5E5-BDF0-4E7D-803E-FE61AE47C41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ABE038-A425-4CC0-917A-1DC3ED725B2E}" type="slidenum">
              <a:rPr lang="nl-BE" smtClean="0"/>
              <a:pPr/>
              <a:t>‹nr.›</a:t>
            </a:fld>
            <a:endParaRPr lang="nl-BE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3D95701-A0B9-4CE4-8280-12966CBFBB4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592263"/>
            <a:ext cx="10514013" cy="4608513"/>
          </a:xfrm>
        </p:spPr>
        <p:txBody>
          <a:bodyPr/>
          <a:lstStyle>
            <a:lvl1pPr marL="396000" indent="-396000">
              <a:buSzPct val="114000"/>
              <a:buFontTx/>
              <a:buBlip>
                <a:blip r:embed="rId2"/>
              </a:buBlip>
              <a:defRPr sz="2800"/>
            </a:lvl1pPr>
            <a:lvl2pPr marL="648000">
              <a:defRPr/>
            </a:lvl2pPr>
            <a:lvl3pPr marL="864000">
              <a:defRPr/>
            </a:lvl3pPr>
            <a:lvl4pPr marL="1080000">
              <a:defRPr/>
            </a:lvl4pPr>
            <a:lvl5pPr marL="1296000"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F589E086-65E6-4969-A706-317A6D17E97B}"/>
              </a:ext>
            </a:extLst>
          </p:cNvPr>
          <p:cNvSpPr/>
          <p:nvPr userDrawn="1"/>
        </p:nvSpPr>
        <p:spPr>
          <a:xfrm>
            <a:off x="0" y="0"/>
            <a:ext cx="285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b="1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2228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Tussentitel + Foto Code Shap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20">
            <a:extLst>
              <a:ext uri="{FF2B5EF4-FFF2-40B4-BE49-F238E27FC236}">
                <a16:creationId xmlns:a16="http://schemas.microsoft.com/office/drawing/2014/main" id="{7FA0B71D-8A8D-4470-A5F4-C62381A5019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707982" y="2009391"/>
            <a:ext cx="4644231" cy="2506662"/>
            <a:chOff x="5283199" y="2561298"/>
            <a:chExt cx="4282210" cy="2311266"/>
          </a:xfrm>
          <a:solidFill>
            <a:schemeClr val="accent1"/>
          </a:solidFill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D9E1058-C866-4C03-AF09-B64706C4C549}"/>
                </a:ext>
              </a:extLst>
            </p:cNvPr>
            <p:cNvSpPr/>
            <p:nvPr/>
          </p:nvSpPr>
          <p:spPr>
            <a:xfrm>
              <a:off x="5283199" y="2561298"/>
              <a:ext cx="2773520" cy="2311266"/>
            </a:xfrm>
            <a:custGeom>
              <a:avLst/>
              <a:gdLst>
                <a:gd name="connsiteX0" fmla="*/ 2773520 w 2773520"/>
                <a:gd name="connsiteY0" fmla="*/ 141189 h 2311266"/>
                <a:gd name="connsiteX1" fmla="*/ 1983425 w 2773520"/>
                <a:gd name="connsiteY1" fmla="*/ 2311266 h 2311266"/>
                <a:gd name="connsiteX2" fmla="*/ 1596567 w 2773520"/>
                <a:gd name="connsiteY2" fmla="*/ 2170077 h 2311266"/>
                <a:gd name="connsiteX3" fmla="*/ 2386380 w 2773520"/>
                <a:gd name="connsiteY3" fmla="*/ 0 h 2311266"/>
                <a:gd name="connsiteX4" fmla="*/ 2773520 w 2773520"/>
                <a:gd name="connsiteY4" fmla="*/ 141189 h 2311266"/>
                <a:gd name="connsiteX5" fmla="*/ 1073603 w 2773520"/>
                <a:gd name="connsiteY5" fmla="*/ 497268 h 2311266"/>
                <a:gd name="connsiteX6" fmla="*/ 1312777 w 2773520"/>
                <a:gd name="connsiteY6" fmla="*/ 831886 h 2311266"/>
                <a:gd name="connsiteX7" fmla="*/ 717523 w 2773520"/>
                <a:gd name="connsiteY7" fmla="*/ 1248394 h 2311266"/>
                <a:gd name="connsiteX8" fmla="*/ 1314189 w 2773520"/>
                <a:gd name="connsiteY8" fmla="*/ 1666314 h 2311266"/>
                <a:gd name="connsiteX9" fmla="*/ 1076426 w 2773520"/>
                <a:gd name="connsiteY9" fmla="*/ 2000933 h 2311266"/>
                <a:gd name="connsiteX10" fmla="*/ 0 w 2773520"/>
                <a:gd name="connsiteY10" fmla="*/ 1248394 h 2311266"/>
                <a:gd name="connsiteX11" fmla="*/ 1073603 w 2773520"/>
                <a:gd name="connsiteY11" fmla="*/ 497268 h 2311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73520" h="2311266">
                  <a:moveTo>
                    <a:pt x="2773520" y="141189"/>
                  </a:moveTo>
                  <a:lnTo>
                    <a:pt x="1983425" y="2311266"/>
                  </a:lnTo>
                  <a:lnTo>
                    <a:pt x="1596567" y="2170077"/>
                  </a:lnTo>
                  <a:lnTo>
                    <a:pt x="2386380" y="0"/>
                  </a:lnTo>
                  <a:lnTo>
                    <a:pt x="2773520" y="141189"/>
                  </a:lnTo>
                  <a:close/>
                  <a:moveTo>
                    <a:pt x="1073603" y="497268"/>
                  </a:moveTo>
                  <a:lnTo>
                    <a:pt x="1312777" y="831886"/>
                  </a:lnTo>
                  <a:lnTo>
                    <a:pt x="717523" y="1248394"/>
                  </a:lnTo>
                  <a:lnTo>
                    <a:pt x="1314189" y="1666314"/>
                  </a:lnTo>
                  <a:lnTo>
                    <a:pt x="1076426" y="2000933"/>
                  </a:lnTo>
                  <a:lnTo>
                    <a:pt x="0" y="1248394"/>
                  </a:lnTo>
                  <a:lnTo>
                    <a:pt x="1073603" y="497268"/>
                  </a:lnTo>
                  <a:close/>
                </a:path>
              </a:pathLst>
            </a:custGeom>
            <a:grpFill/>
            <a:ln w="282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1200" cap="none" spc="0" normalizeH="0" baseline="0" noProof="0">
                <a:ln>
                  <a:noFill/>
                </a:ln>
                <a:solidFill>
                  <a:srgbClr val="373636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B58E1EB3-419F-4F98-AF8B-5CC9CE565401}"/>
                </a:ext>
              </a:extLst>
            </p:cNvPr>
            <p:cNvSpPr/>
            <p:nvPr/>
          </p:nvSpPr>
          <p:spPr>
            <a:xfrm>
              <a:off x="8251220" y="3044141"/>
              <a:ext cx="1314189" cy="1503664"/>
            </a:xfrm>
            <a:custGeom>
              <a:avLst/>
              <a:gdLst>
                <a:gd name="connsiteX0" fmla="*/ 0 w 1314189"/>
                <a:gd name="connsiteY0" fmla="*/ 1169046 h 1503664"/>
                <a:gd name="connsiteX1" fmla="*/ 596666 w 1314189"/>
                <a:gd name="connsiteY1" fmla="*/ 751126 h 1503664"/>
                <a:gd name="connsiteX2" fmla="*/ 1412 w 1314189"/>
                <a:gd name="connsiteY2" fmla="*/ 334618 h 1503664"/>
                <a:gd name="connsiteX3" fmla="*/ 240586 w 1314189"/>
                <a:gd name="connsiteY3" fmla="*/ 0 h 1503664"/>
                <a:gd name="connsiteX4" fmla="*/ 1314189 w 1314189"/>
                <a:gd name="connsiteY4" fmla="*/ 751126 h 1503664"/>
                <a:gd name="connsiteX5" fmla="*/ 237763 w 1314189"/>
                <a:gd name="connsiteY5" fmla="*/ 1503665 h 1503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14189" h="1503664">
                  <a:moveTo>
                    <a:pt x="0" y="1169046"/>
                  </a:moveTo>
                  <a:lnTo>
                    <a:pt x="596666" y="751126"/>
                  </a:lnTo>
                  <a:lnTo>
                    <a:pt x="1412" y="334618"/>
                  </a:lnTo>
                  <a:lnTo>
                    <a:pt x="240586" y="0"/>
                  </a:lnTo>
                  <a:lnTo>
                    <a:pt x="1314189" y="751126"/>
                  </a:lnTo>
                  <a:lnTo>
                    <a:pt x="237763" y="1503665"/>
                  </a:lnTo>
                  <a:close/>
                </a:path>
              </a:pathLst>
            </a:custGeom>
            <a:grpFill/>
            <a:ln w="282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1200" cap="none" spc="0" normalizeH="0" baseline="0" noProof="0">
                <a:ln>
                  <a:noFill/>
                </a:ln>
                <a:solidFill>
                  <a:srgbClr val="373636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7" name="Rechthoek 6">
            <a:extLst>
              <a:ext uri="{FF2B5EF4-FFF2-40B4-BE49-F238E27FC236}">
                <a16:creationId xmlns:a16="http://schemas.microsoft.com/office/drawing/2014/main" id="{6F45857B-E452-48F1-B0B6-4B82FEC46E0F}"/>
              </a:ext>
            </a:extLst>
          </p:cNvPr>
          <p:cNvSpPr/>
          <p:nvPr userDrawn="1"/>
        </p:nvSpPr>
        <p:spPr>
          <a:xfrm>
            <a:off x="0" y="0"/>
            <a:ext cx="219456" cy="6858000"/>
          </a:xfrm>
          <a:prstGeom prst="rect">
            <a:avLst/>
          </a:prstGeom>
          <a:solidFill>
            <a:srgbClr val="FF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1FFC41D3-74EC-4786-913E-170737D7DD2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715699" y="1049956"/>
            <a:ext cx="3858332" cy="4562935"/>
          </a:xfrm>
          <a:custGeom>
            <a:avLst/>
            <a:gdLst>
              <a:gd name="connsiteX0" fmla="*/ 730069 w 3858332"/>
              <a:gd name="connsiteY0" fmla="*/ 0 h 4562935"/>
              <a:gd name="connsiteX1" fmla="*/ 2483194 w 3858332"/>
              <a:gd name="connsiteY1" fmla="*/ 1226541 h 4562935"/>
              <a:gd name="connsiteX2" fmla="*/ 1723825 w 3858332"/>
              <a:gd name="connsiteY2" fmla="*/ 3312972 h 4562935"/>
              <a:gd name="connsiteX3" fmla="*/ 2143388 w 3858332"/>
              <a:gd name="connsiteY3" fmla="*/ 3466097 h 4562935"/>
              <a:gd name="connsiteX4" fmla="*/ 2862229 w 3858332"/>
              <a:gd name="connsiteY4" fmla="*/ 1491726 h 4562935"/>
              <a:gd name="connsiteX5" fmla="*/ 3264711 w 3858332"/>
              <a:gd name="connsiteY5" fmla="*/ 1773315 h 4562935"/>
              <a:gd name="connsiteX6" fmla="*/ 3212754 w 3858332"/>
              <a:gd name="connsiteY6" fmla="*/ 1846005 h 4562935"/>
              <a:gd name="connsiteX7" fmla="*/ 3858332 w 3858332"/>
              <a:gd name="connsiteY7" fmla="*/ 2297725 h 4562935"/>
              <a:gd name="connsiteX8" fmla="*/ 3211223 w 3858332"/>
              <a:gd name="connsiteY8" fmla="*/ 2750976 h 4562935"/>
              <a:gd name="connsiteX9" fmla="*/ 3245106 w 3858332"/>
              <a:gd name="connsiteY9" fmla="*/ 2798662 h 4562935"/>
              <a:gd name="connsiteX10" fmla="*/ 721502 w 3858332"/>
              <a:gd name="connsiteY10" fmla="*/ 4562935 h 4562935"/>
              <a:gd name="connsiteX11" fmla="*/ 0 w 3858332"/>
              <a:gd name="connsiteY11" fmla="*/ 3547520 h 4562935"/>
              <a:gd name="connsiteX12" fmla="*/ 877975 w 3858332"/>
              <a:gd name="connsiteY12" fmla="*/ 2932564 h 4562935"/>
              <a:gd name="connsiteX13" fmla="*/ 1159711 w 3858332"/>
              <a:gd name="connsiteY13" fmla="*/ 3129528 h 4562935"/>
              <a:gd name="connsiteX14" fmla="*/ 1417574 w 3858332"/>
              <a:gd name="connsiteY14" fmla="*/ 2766621 h 4562935"/>
              <a:gd name="connsiteX15" fmla="*/ 1266234 w 3858332"/>
              <a:gd name="connsiteY15" fmla="*/ 2660618 h 4562935"/>
              <a:gd name="connsiteX16" fmla="*/ 1810608 w 3858332"/>
              <a:gd name="connsiteY16" fmla="*/ 2279324 h 4562935"/>
              <a:gd name="connsiteX17" fmla="*/ 1314865 w 3858332"/>
              <a:gd name="connsiteY17" fmla="*/ 1932445 h 4562935"/>
              <a:gd name="connsiteX18" fmla="*/ 1416043 w 3858332"/>
              <a:gd name="connsiteY18" fmla="*/ 1861649 h 4562935"/>
              <a:gd name="connsiteX19" fmla="*/ 1156649 w 3858332"/>
              <a:gd name="connsiteY19" fmla="*/ 1498743 h 4562935"/>
              <a:gd name="connsiteX20" fmla="*/ 925829 w 3858332"/>
              <a:gd name="connsiteY20" fmla="*/ 1660231 h 4562935"/>
              <a:gd name="connsiteX21" fmla="*/ 4285 w 3858332"/>
              <a:gd name="connsiteY21" fmla="*/ 1015413 h 45629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3858332" h="4562935">
                <a:moveTo>
                  <a:pt x="730069" y="0"/>
                </a:moveTo>
                <a:lnTo>
                  <a:pt x="2483194" y="1226541"/>
                </a:lnTo>
                <a:lnTo>
                  <a:pt x="1723825" y="3312972"/>
                </a:lnTo>
                <a:lnTo>
                  <a:pt x="2143388" y="3466097"/>
                </a:lnTo>
                <a:lnTo>
                  <a:pt x="2862229" y="1491726"/>
                </a:lnTo>
                <a:lnTo>
                  <a:pt x="3264711" y="1773315"/>
                </a:lnTo>
                <a:lnTo>
                  <a:pt x="3212754" y="1846005"/>
                </a:lnTo>
                <a:lnTo>
                  <a:pt x="3858332" y="2297725"/>
                </a:lnTo>
                <a:lnTo>
                  <a:pt x="3211223" y="2750976"/>
                </a:lnTo>
                <a:lnTo>
                  <a:pt x="3245106" y="2798662"/>
                </a:lnTo>
                <a:lnTo>
                  <a:pt x="721502" y="4562935"/>
                </a:lnTo>
                <a:lnTo>
                  <a:pt x="0" y="3547520"/>
                </a:lnTo>
                <a:lnTo>
                  <a:pt x="877975" y="2932564"/>
                </a:lnTo>
                <a:lnTo>
                  <a:pt x="1159711" y="3129528"/>
                </a:lnTo>
                <a:lnTo>
                  <a:pt x="1417574" y="2766621"/>
                </a:lnTo>
                <a:lnTo>
                  <a:pt x="1266234" y="2660618"/>
                </a:lnTo>
                <a:lnTo>
                  <a:pt x="1810608" y="2279324"/>
                </a:lnTo>
                <a:lnTo>
                  <a:pt x="1314865" y="1932445"/>
                </a:lnTo>
                <a:lnTo>
                  <a:pt x="1416043" y="1861649"/>
                </a:lnTo>
                <a:lnTo>
                  <a:pt x="1156649" y="1498743"/>
                </a:lnTo>
                <a:lnTo>
                  <a:pt x="925829" y="1660231"/>
                </a:lnTo>
                <a:lnTo>
                  <a:pt x="4285" y="10154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err="1"/>
              <a:t>Klik</a:t>
            </a:r>
            <a:r>
              <a:rPr lang="en-US"/>
              <a:t> op </a:t>
            </a:r>
            <a:r>
              <a:rPr lang="en-US" err="1"/>
              <a:t>icoon</a:t>
            </a:r>
            <a:r>
              <a:rPr lang="en-US"/>
              <a:t> </a:t>
            </a:r>
            <a:r>
              <a:rPr lang="en-US" err="1"/>
              <a:t>voor</a:t>
            </a:r>
            <a:r>
              <a:rPr lang="en-US"/>
              <a:t> </a:t>
            </a:r>
            <a:r>
              <a:rPr lang="en-US" err="1"/>
              <a:t>foto</a:t>
            </a:r>
            <a:r>
              <a:rPr lang="en-US"/>
              <a:t> (min </a:t>
            </a:r>
            <a:r>
              <a:rPr lang="nl-BE"/>
              <a:t>resolutie </a:t>
            </a:r>
            <a:r>
              <a:rPr lang="en-US"/>
              <a:t>72 DPI</a:t>
            </a:r>
            <a:r>
              <a:rPr lang="nl-BE"/>
              <a:t>)</a:t>
            </a:r>
          </a:p>
        </p:txBody>
      </p:sp>
      <p:pic>
        <p:nvPicPr>
          <p:cNvPr id="8" name="Picture 7" hidden="1">
            <a:extLst>
              <a:ext uri="{FF2B5EF4-FFF2-40B4-BE49-F238E27FC236}">
                <a16:creationId xmlns:a16="http://schemas.microsoft.com/office/drawing/2014/main" id="{58B05817-F3FA-46BB-B9B1-0872F0D69BE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95852" y="995914"/>
            <a:ext cx="6895292" cy="5862086"/>
          </a:xfrm>
          <a:prstGeom prst="rect">
            <a:avLst/>
          </a:prstGeom>
        </p:spPr>
      </p:pic>
      <p:sp>
        <p:nvSpPr>
          <p:cNvPr id="13" name="Tijdelijke aanduiding voor inhoud 2">
            <a:extLst>
              <a:ext uri="{FF2B5EF4-FFF2-40B4-BE49-F238E27FC236}">
                <a16:creationId xmlns:a16="http://schemas.microsoft.com/office/drawing/2014/main" id="{75AB06CC-800E-4C2D-A84E-6F1C3E1F246F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839939" y="1592263"/>
            <a:ext cx="4905542" cy="45847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l-NL"/>
              <a:t>Eerste niveau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14" name="Tijdelijke aanduiding voor tekst 9">
            <a:extLst>
              <a:ext uri="{FF2B5EF4-FFF2-40B4-BE49-F238E27FC236}">
                <a16:creationId xmlns:a16="http://schemas.microsoft.com/office/drawing/2014/main" id="{6697E777-8604-42A9-8F0B-02333D626B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6613" y="368300"/>
            <a:ext cx="4906800" cy="368052"/>
          </a:xfrm>
        </p:spPr>
        <p:txBody>
          <a:bodyPr anchor="ctr">
            <a:normAutofit/>
          </a:bodyPr>
          <a:lstStyle>
            <a:lvl1pPr>
              <a:defRPr sz="2000" b="0" u="none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nl-BE"/>
              <a:t>BOVENTITEL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B8F964ED-5909-49F8-8F47-BD3F0E493C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6612" y="736352"/>
            <a:ext cx="4906800" cy="703511"/>
          </a:xfrm>
          <a:prstGeom prst="rect">
            <a:avLst/>
          </a:prstGeom>
        </p:spPr>
        <p:txBody>
          <a:bodyPr anchor="t"/>
          <a:lstStyle>
            <a:lvl1pPr>
              <a:defRPr/>
            </a:lvl1pPr>
          </a:lstStyle>
          <a:p>
            <a:r>
              <a:rPr lang="nl-NL"/>
              <a:t>Hoofdtitel</a:t>
            </a:r>
            <a:endParaRPr lang="nl-BE"/>
          </a:p>
        </p:txBody>
      </p:sp>
      <p:sp>
        <p:nvSpPr>
          <p:cNvPr id="16" name="Tijdelijke aanduiding voor voettekst 4">
            <a:extLst>
              <a:ext uri="{FF2B5EF4-FFF2-40B4-BE49-F238E27FC236}">
                <a16:creationId xmlns:a16="http://schemas.microsoft.com/office/drawing/2014/main" id="{3732EE75-B596-422D-B820-F77A1E6943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44981"/>
            <a:ext cx="4833425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nl-BE"/>
              <a:t>Voettekst</a:t>
            </a:r>
          </a:p>
        </p:txBody>
      </p:sp>
      <p:sp>
        <p:nvSpPr>
          <p:cNvPr id="17" name="Tijdelijke aanduiding voor dianummer 5">
            <a:extLst>
              <a:ext uri="{FF2B5EF4-FFF2-40B4-BE49-F238E27FC236}">
                <a16:creationId xmlns:a16="http://schemas.microsoft.com/office/drawing/2014/main" id="{6C3ACB0A-EF63-4EFC-8237-EC902A9AB2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14012" y="6344982"/>
            <a:ext cx="838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 b="1">
                <a:solidFill>
                  <a:schemeClr val="tx1"/>
                </a:solidFill>
                <a:latin typeface="+mj-lt"/>
              </a:defRPr>
            </a:lvl1pPr>
          </a:lstStyle>
          <a:p>
            <a:fld id="{1EABE038-A425-4CC0-917A-1DC3ED725B2E}" type="slidenum">
              <a:rPr lang="nl-BE" smtClean="0"/>
              <a:pPr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2395694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floor&#10;&#10;Description automatically generated">
            <a:extLst>
              <a:ext uri="{FF2B5EF4-FFF2-40B4-BE49-F238E27FC236}">
                <a16:creationId xmlns:a16="http://schemas.microsoft.com/office/drawing/2014/main" id="{2A69FAB9-AE2B-436D-9041-8A2741DF9B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65" t="5863" r="8524" b="32368"/>
          <a:stretch/>
        </p:blipFill>
        <p:spPr>
          <a:xfrm flipH="1">
            <a:off x="219456" y="1"/>
            <a:ext cx="12003104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C52542C1-CDF9-42AF-9ED9-D440E3D3E80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190602" y="2561298"/>
            <a:ext cx="5764429" cy="2311266"/>
            <a:chOff x="5283199" y="2561298"/>
            <a:chExt cx="5764429" cy="2311266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142D1342-C18C-40BB-912C-F86D1E706C6F}"/>
                </a:ext>
              </a:extLst>
            </p:cNvPr>
            <p:cNvSpPr/>
            <p:nvPr/>
          </p:nvSpPr>
          <p:spPr>
            <a:xfrm>
              <a:off x="5283199" y="2561298"/>
              <a:ext cx="2773520" cy="2311266"/>
            </a:xfrm>
            <a:custGeom>
              <a:avLst/>
              <a:gdLst>
                <a:gd name="connsiteX0" fmla="*/ 2773520 w 2773520"/>
                <a:gd name="connsiteY0" fmla="*/ 141189 h 2311266"/>
                <a:gd name="connsiteX1" fmla="*/ 1983425 w 2773520"/>
                <a:gd name="connsiteY1" fmla="*/ 2311266 h 2311266"/>
                <a:gd name="connsiteX2" fmla="*/ 1596567 w 2773520"/>
                <a:gd name="connsiteY2" fmla="*/ 2170077 h 2311266"/>
                <a:gd name="connsiteX3" fmla="*/ 2386380 w 2773520"/>
                <a:gd name="connsiteY3" fmla="*/ 0 h 2311266"/>
                <a:gd name="connsiteX4" fmla="*/ 2773520 w 2773520"/>
                <a:gd name="connsiteY4" fmla="*/ 141189 h 2311266"/>
                <a:gd name="connsiteX5" fmla="*/ 1073603 w 2773520"/>
                <a:gd name="connsiteY5" fmla="*/ 497268 h 2311266"/>
                <a:gd name="connsiteX6" fmla="*/ 1312777 w 2773520"/>
                <a:gd name="connsiteY6" fmla="*/ 831886 h 2311266"/>
                <a:gd name="connsiteX7" fmla="*/ 717523 w 2773520"/>
                <a:gd name="connsiteY7" fmla="*/ 1248394 h 2311266"/>
                <a:gd name="connsiteX8" fmla="*/ 1314189 w 2773520"/>
                <a:gd name="connsiteY8" fmla="*/ 1666314 h 2311266"/>
                <a:gd name="connsiteX9" fmla="*/ 1076426 w 2773520"/>
                <a:gd name="connsiteY9" fmla="*/ 2000933 h 2311266"/>
                <a:gd name="connsiteX10" fmla="*/ 0 w 2773520"/>
                <a:gd name="connsiteY10" fmla="*/ 1248394 h 2311266"/>
                <a:gd name="connsiteX11" fmla="*/ 1073603 w 2773520"/>
                <a:gd name="connsiteY11" fmla="*/ 497268 h 2311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73520" h="2311266">
                  <a:moveTo>
                    <a:pt x="2773520" y="141189"/>
                  </a:moveTo>
                  <a:lnTo>
                    <a:pt x="1983425" y="2311266"/>
                  </a:lnTo>
                  <a:lnTo>
                    <a:pt x="1596567" y="2170077"/>
                  </a:lnTo>
                  <a:lnTo>
                    <a:pt x="2386380" y="0"/>
                  </a:lnTo>
                  <a:lnTo>
                    <a:pt x="2773520" y="141189"/>
                  </a:lnTo>
                  <a:close/>
                  <a:moveTo>
                    <a:pt x="1073603" y="497268"/>
                  </a:moveTo>
                  <a:lnTo>
                    <a:pt x="1312777" y="831886"/>
                  </a:lnTo>
                  <a:lnTo>
                    <a:pt x="717523" y="1248394"/>
                  </a:lnTo>
                  <a:lnTo>
                    <a:pt x="1314189" y="1666314"/>
                  </a:lnTo>
                  <a:lnTo>
                    <a:pt x="1076426" y="2000933"/>
                  </a:lnTo>
                  <a:lnTo>
                    <a:pt x="0" y="1248394"/>
                  </a:lnTo>
                  <a:lnTo>
                    <a:pt x="1073603" y="497268"/>
                  </a:lnTo>
                  <a:close/>
                </a:path>
              </a:pathLst>
            </a:custGeom>
            <a:solidFill>
              <a:srgbClr val="FFF000"/>
            </a:solidFill>
            <a:ln w="282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1200" cap="none" spc="0" normalizeH="0" baseline="0" noProof="0">
                <a:ln>
                  <a:noFill/>
                </a:ln>
                <a:solidFill>
                  <a:srgbClr val="373636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1405EE2-60D1-4C7A-A4B5-697C34C849EF}"/>
                </a:ext>
              </a:extLst>
            </p:cNvPr>
            <p:cNvSpPr/>
            <p:nvPr/>
          </p:nvSpPr>
          <p:spPr>
            <a:xfrm>
              <a:off x="9733439" y="2965098"/>
              <a:ext cx="1314189" cy="1503664"/>
            </a:xfrm>
            <a:custGeom>
              <a:avLst/>
              <a:gdLst>
                <a:gd name="connsiteX0" fmla="*/ 0 w 1314189"/>
                <a:gd name="connsiteY0" fmla="*/ 1169046 h 1503664"/>
                <a:gd name="connsiteX1" fmla="*/ 596666 w 1314189"/>
                <a:gd name="connsiteY1" fmla="*/ 751126 h 1503664"/>
                <a:gd name="connsiteX2" fmla="*/ 1412 w 1314189"/>
                <a:gd name="connsiteY2" fmla="*/ 334618 h 1503664"/>
                <a:gd name="connsiteX3" fmla="*/ 240586 w 1314189"/>
                <a:gd name="connsiteY3" fmla="*/ 0 h 1503664"/>
                <a:gd name="connsiteX4" fmla="*/ 1314189 w 1314189"/>
                <a:gd name="connsiteY4" fmla="*/ 751126 h 1503664"/>
                <a:gd name="connsiteX5" fmla="*/ 237763 w 1314189"/>
                <a:gd name="connsiteY5" fmla="*/ 1503665 h 1503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14189" h="1503664">
                  <a:moveTo>
                    <a:pt x="0" y="1169046"/>
                  </a:moveTo>
                  <a:lnTo>
                    <a:pt x="596666" y="751126"/>
                  </a:lnTo>
                  <a:lnTo>
                    <a:pt x="1412" y="334618"/>
                  </a:lnTo>
                  <a:lnTo>
                    <a:pt x="240586" y="0"/>
                  </a:lnTo>
                  <a:lnTo>
                    <a:pt x="1314189" y="751126"/>
                  </a:lnTo>
                  <a:lnTo>
                    <a:pt x="237763" y="1503665"/>
                  </a:lnTo>
                  <a:close/>
                </a:path>
              </a:pathLst>
            </a:custGeom>
            <a:solidFill>
              <a:srgbClr val="FFF000"/>
            </a:solidFill>
            <a:ln w="282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1200" cap="none" spc="0" normalizeH="0" baseline="0" noProof="0">
                <a:ln>
                  <a:noFill/>
                </a:ln>
                <a:solidFill>
                  <a:srgbClr val="373636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4" name="Rechthoek 6">
            <a:extLst>
              <a:ext uri="{FF2B5EF4-FFF2-40B4-BE49-F238E27FC236}">
                <a16:creationId xmlns:a16="http://schemas.microsoft.com/office/drawing/2014/main" id="{46866368-110F-436E-9B2D-DE05977BE19D}"/>
              </a:ext>
            </a:extLst>
          </p:cNvPr>
          <p:cNvSpPr/>
          <p:nvPr userDrawn="1"/>
        </p:nvSpPr>
        <p:spPr>
          <a:xfrm>
            <a:off x="0" y="0"/>
            <a:ext cx="219456" cy="6858000"/>
          </a:xfrm>
          <a:prstGeom prst="rect">
            <a:avLst/>
          </a:prstGeom>
          <a:solidFill>
            <a:srgbClr val="FF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D7A1FC-C9B7-4EF4-8B3E-1788213793E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9" y="1258113"/>
            <a:ext cx="4200297" cy="2071868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4800" b="1">
                <a:solidFill>
                  <a:schemeClr val="tx1"/>
                </a:solidFill>
              </a:defRPr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6C235BE3-1A57-42B0-A76A-CBCC5A5CB63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298" y="5156522"/>
            <a:ext cx="4148788" cy="1044253"/>
          </a:xfrm>
          <a:prstGeom prst="rect">
            <a:avLst/>
          </a:prstGeom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F3EF43F9-C1BE-4A9F-B44B-5A3FC35C4C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9789" y="3354606"/>
            <a:ext cx="4200297" cy="1455738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5" name="Tijdelijke aanduiding voor dianummer 5">
            <a:extLst>
              <a:ext uri="{FF2B5EF4-FFF2-40B4-BE49-F238E27FC236}">
                <a16:creationId xmlns:a16="http://schemas.microsoft.com/office/drawing/2014/main" id="{4F5F55EB-E944-4493-A42E-018FBF0C76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14012" y="6344982"/>
            <a:ext cx="838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 b="1">
                <a:noFill/>
                <a:latin typeface="+mj-lt"/>
              </a:defRPr>
            </a:lvl1pPr>
          </a:lstStyle>
          <a:p>
            <a:fld id="{1EABE038-A425-4CC0-917A-1DC3ED725B2E}" type="slidenum">
              <a:rPr lang="nl-BE" smtClean="0"/>
              <a:pPr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313643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group of people walking&#10;&#10;Description automatically generated with low confidence">
            <a:extLst>
              <a:ext uri="{FF2B5EF4-FFF2-40B4-BE49-F238E27FC236}">
                <a16:creationId xmlns:a16="http://schemas.microsoft.com/office/drawing/2014/main" id="{F18B8AE1-9A59-46A6-B320-FCC9A25927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4" t="7785" r="1" b="8137"/>
          <a:stretch/>
        </p:blipFill>
        <p:spPr>
          <a:xfrm>
            <a:off x="219456" y="0"/>
            <a:ext cx="11972544" cy="6858000"/>
          </a:xfrm>
          <a:prstGeom prst="rect">
            <a:avLst/>
          </a:prstGeom>
        </p:spPr>
      </p:pic>
      <p:sp>
        <p:nvSpPr>
          <p:cNvPr id="14" name="Rechthoek 6">
            <a:extLst>
              <a:ext uri="{FF2B5EF4-FFF2-40B4-BE49-F238E27FC236}">
                <a16:creationId xmlns:a16="http://schemas.microsoft.com/office/drawing/2014/main" id="{46866368-110F-436E-9B2D-DE05977BE19D}"/>
              </a:ext>
            </a:extLst>
          </p:cNvPr>
          <p:cNvSpPr/>
          <p:nvPr userDrawn="1"/>
        </p:nvSpPr>
        <p:spPr>
          <a:xfrm>
            <a:off x="0" y="0"/>
            <a:ext cx="219456" cy="6858000"/>
          </a:xfrm>
          <a:prstGeom prst="rect">
            <a:avLst/>
          </a:prstGeom>
          <a:solidFill>
            <a:srgbClr val="FF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D7A1FC-C9B7-4EF4-8B3E-1788213793E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97400" y="1258113"/>
            <a:ext cx="6754813" cy="389841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r">
              <a:lnSpc>
                <a:spcPct val="100000"/>
              </a:lnSpc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pic>
        <p:nvPicPr>
          <p:cNvPr id="18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24D4B9F4-C9B4-4C0C-B2A0-4661A88B713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7035" y="5599887"/>
            <a:ext cx="2605178" cy="655725"/>
          </a:xfrm>
          <a:prstGeom prst="rect">
            <a:avLst/>
          </a:prstGeom>
        </p:spPr>
      </p:pic>
      <p:sp>
        <p:nvSpPr>
          <p:cNvPr id="8" name="Tijdelijke aanduiding voor dianummer 5">
            <a:extLst>
              <a:ext uri="{FF2B5EF4-FFF2-40B4-BE49-F238E27FC236}">
                <a16:creationId xmlns:a16="http://schemas.microsoft.com/office/drawing/2014/main" id="{55FA1061-F3D8-483D-9603-1D6EF08151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14012" y="6344982"/>
            <a:ext cx="838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 b="1">
                <a:noFill/>
                <a:latin typeface="+mj-lt"/>
              </a:defRPr>
            </a:lvl1pPr>
          </a:lstStyle>
          <a:p>
            <a:fld id="{1EABE038-A425-4CC0-917A-1DC3ED725B2E}" type="slidenum">
              <a:rPr lang="nl-BE" smtClean="0"/>
              <a:pPr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918719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lgemeen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0088BA-50E3-453A-B4A0-8CCF8ED49B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70351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nl-NL"/>
              <a:t>Hoofdtitel</a:t>
            </a:r>
            <a:endParaRPr lang="nl-BE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39A00E47-68C0-4DBD-AB0F-CD7342B025E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879101"/>
            <a:ext cx="10515600" cy="4297862"/>
          </a:xfrm>
        </p:spPr>
        <p:txBody>
          <a:bodyPr/>
          <a:lstStyle>
            <a:lvl1pPr>
              <a:defRPr u="none"/>
            </a:lvl1pPr>
          </a:lstStyle>
          <a:p>
            <a:pPr lvl="0"/>
            <a:r>
              <a:rPr lang="nl-NL"/>
              <a:t>Eerste niveau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4EBF8E1-91F2-4E4B-AF7C-1A2084AB5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BE"/>
              <a:t>Digitaal Vlaanderen \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EA04B5B-B226-4E77-B512-C407B06E7A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ABE038-A425-4CC0-917A-1DC3ED725B2E}" type="slidenum">
              <a:rPr lang="nl-BE" smtClean="0"/>
              <a:t>‹nr.›</a:t>
            </a:fld>
            <a:endParaRPr lang="nl-BE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6F45857B-E452-48F1-B0B6-4B82FEC46E0F}"/>
              </a:ext>
            </a:extLst>
          </p:cNvPr>
          <p:cNvSpPr/>
          <p:nvPr userDrawn="1"/>
        </p:nvSpPr>
        <p:spPr>
          <a:xfrm>
            <a:off x="0" y="0"/>
            <a:ext cx="219456" cy="6858000"/>
          </a:xfrm>
          <a:prstGeom prst="rect">
            <a:avLst/>
          </a:prstGeom>
          <a:solidFill>
            <a:srgbClr val="FF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2" name="Tijdelijke aanduiding voor tekst 9">
            <a:extLst>
              <a:ext uri="{FF2B5EF4-FFF2-40B4-BE49-F238E27FC236}">
                <a16:creationId xmlns:a16="http://schemas.microsoft.com/office/drawing/2014/main" id="{C8409B7C-6B97-4FAC-AD35-6F8F386B3CA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241550"/>
            <a:ext cx="10515599" cy="464637"/>
          </a:xfrm>
        </p:spPr>
        <p:txBody>
          <a:bodyPr anchor="ctr"/>
          <a:lstStyle>
            <a:lvl1pPr>
              <a:defRPr sz="2400" b="1" u="none" cap="all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nl-BE"/>
              <a:t>TUSSENTITEL</a:t>
            </a:r>
          </a:p>
        </p:txBody>
      </p:sp>
    </p:spTree>
    <p:extLst>
      <p:ext uri="{BB962C8B-B14F-4D97-AF65-F5344CB8AC3E}">
        <p14:creationId xmlns:p14="http://schemas.microsoft.com/office/powerpoint/2010/main" val="2383525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el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/>
          <p:cNvSpPr>
            <a:spLocks noGrp="1"/>
          </p:cNvSpPr>
          <p:nvPr>
            <p:ph type="pic" sz="quarter" idx="10" hasCustomPrompt="1"/>
          </p:nvPr>
        </p:nvSpPr>
        <p:spPr>
          <a:xfrm>
            <a:off x="383118" y="289984"/>
            <a:ext cx="7769327" cy="6263216"/>
          </a:xfrm>
          <a:custGeom>
            <a:avLst/>
            <a:gdLst>
              <a:gd name="connsiteX0" fmla="*/ 0 w 6764337"/>
              <a:gd name="connsiteY0" fmla="*/ 0 h 4697412"/>
              <a:gd name="connsiteX1" fmla="*/ 6764337 w 6764337"/>
              <a:gd name="connsiteY1" fmla="*/ 0 h 4697412"/>
              <a:gd name="connsiteX2" fmla="*/ 6764337 w 6764337"/>
              <a:gd name="connsiteY2" fmla="*/ 4697412 h 4697412"/>
              <a:gd name="connsiteX3" fmla="*/ 0 w 6764337"/>
              <a:gd name="connsiteY3" fmla="*/ 4697412 h 4697412"/>
              <a:gd name="connsiteX4" fmla="*/ 0 w 6764337"/>
              <a:gd name="connsiteY4" fmla="*/ 0 h 4697412"/>
              <a:gd name="connsiteX0" fmla="*/ 0 w 6764337"/>
              <a:gd name="connsiteY0" fmla="*/ 0 h 4697412"/>
              <a:gd name="connsiteX1" fmla="*/ 4224337 w 6764337"/>
              <a:gd name="connsiteY1" fmla="*/ 0 h 4697412"/>
              <a:gd name="connsiteX2" fmla="*/ 6764337 w 6764337"/>
              <a:gd name="connsiteY2" fmla="*/ 4697412 h 4697412"/>
              <a:gd name="connsiteX3" fmla="*/ 0 w 6764337"/>
              <a:gd name="connsiteY3" fmla="*/ 4697412 h 4697412"/>
              <a:gd name="connsiteX4" fmla="*/ 0 w 6764337"/>
              <a:gd name="connsiteY4" fmla="*/ 0 h 4697412"/>
              <a:gd name="connsiteX0" fmla="*/ 0 w 6053137"/>
              <a:gd name="connsiteY0" fmla="*/ 0 h 4697412"/>
              <a:gd name="connsiteX1" fmla="*/ 4224337 w 6053137"/>
              <a:gd name="connsiteY1" fmla="*/ 0 h 4697412"/>
              <a:gd name="connsiteX2" fmla="*/ 6053137 w 6053137"/>
              <a:gd name="connsiteY2" fmla="*/ 4697412 h 4697412"/>
              <a:gd name="connsiteX3" fmla="*/ 0 w 6053137"/>
              <a:gd name="connsiteY3" fmla="*/ 4697412 h 4697412"/>
              <a:gd name="connsiteX4" fmla="*/ 0 w 6053137"/>
              <a:gd name="connsiteY4" fmla="*/ 0 h 4697412"/>
              <a:gd name="connsiteX0" fmla="*/ 0 w 5826995"/>
              <a:gd name="connsiteY0" fmla="*/ 0 h 4697412"/>
              <a:gd name="connsiteX1" fmla="*/ 4224337 w 5826995"/>
              <a:gd name="connsiteY1" fmla="*/ 0 h 4697412"/>
              <a:gd name="connsiteX2" fmla="*/ 5826995 w 5826995"/>
              <a:gd name="connsiteY2" fmla="*/ 4687579 h 4697412"/>
              <a:gd name="connsiteX3" fmla="*/ 0 w 5826995"/>
              <a:gd name="connsiteY3" fmla="*/ 4697412 h 4697412"/>
              <a:gd name="connsiteX4" fmla="*/ 0 w 5826995"/>
              <a:gd name="connsiteY4" fmla="*/ 0 h 4697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26995" h="4697412">
                <a:moveTo>
                  <a:pt x="0" y="0"/>
                </a:moveTo>
                <a:lnTo>
                  <a:pt x="4224337" y="0"/>
                </a:lnTo>
                <a:lnTo>
                  <a:pt x="5826995" y="4687579"/>
                </a:lnTo>
                <a:lnTo>
                  <a:pt x="0" y="4697412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err="1"/>
              <a:t>Klik</a:t>
            </a:r>
            <a:r>
              <a:rPr lang="en-US"/>
              <a:t> op </a:t>
            </a:r>
            <a:r>
              <a:rPr lang="en-US" err="1"/>
              <a:t>icoon</a:t>
            </a:r>
            <a:r>
              <a:rPr lang="en-US"/>
              <a:t> </a:t>
            </a:r>
            <a:r>
              <a:rPr lang="en-US" err="1"/>
              <a:t>voor</a:t>
            </a:r>
            <a:r>
              <a:rPr lang="en-US"/>
              <a:t> </a:t>
            </a:r>
            <a:r>
              <a:rPr lang="en-US" err="1"/>
              <a:t>foto</a:t>
            </a:r>
            <a:endParaRPr lang="nl-BE"/>
          </a:p>
        </p:txBody>
      </p:sp>
      <p:sp>
        <p:nvSpPr>
          <p:cNvPr id="7" name="Titel 1"/>
          <p:cNvSpPr>
            <a:spLocks noGrp="1"/>
          </p:cNvSpPr>
          <p:nvPr>
            <p:ph type="ctrTitle" hasCustomPrompt="1"/>
          </p:nvPr>
        </p:nvSpPr>
        <p:spPr>
          <a:xfrm>
            <a:off x="7298239" y="803602"/>
            <a:ext cx="4203587" cy="4251868"/>
          </a:xfrm>
        </p:spPr>
        <p:txBody>
          <a:bodyPr wrap="square" anchor="ctr" anchorCtr="0">
            <a:noAutofit/>
          </a:bodyPr>
          <a:lstStyle>
            <a:lvl1pPr algn="r">
              <a:lnSpc>
                <a:spcPts val="6933"/>
              </a:lnSpc>
              <a:defRPr sz="5867" b="1" i="0">
                <a:solidFill>
                  <a:schemeClr val="tx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err="1"/>
              <a:t>Subtitel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743785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lgem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C9DC68D-A99D-4B17-9C00-6D635C921DC4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41351" y="1885475"/>
            <a:ext cx="11163300" cy="4193592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nl-NL"/>
              <a:t>Eerste niveau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13" name="Tekstvak 12">
            <a:extLst>
              <a:ext uri="{FF2B5EF4-FFF2-40B4-BE49-F238E27FC236}">
                <a16:creationId xmlns:a16="http://schemas.microsoft.com/office/drawing/2014/main" id="{D2D0B913-E767-4049-8970-190B360C2899}"/>
              </a:ext>
            </a:extLst>
          </p:cNvPr>
          <p:cNvSpPr txBox="1"/>
          <p:nvPr userDrawn="1"/>
        </p:nvSpPr>
        <p:spPr>
          <a:xfrm>
            <a:off x="642376" y="1240869"/>
            <a:ext cx="82984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nl-BE" sz="2400"/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656B493A-0700-4CB6-9422-17D80DF1F1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2375" y="283613"/>
            <a:ext cx="11161280" cy="788176"/>
          </a:xfrm>
        </p:spPr>
        <p:txBody>
          <a:bodyPr/>
          <a:lstStyle>
            <a:lvl1pPr marL="0" indent="0" algn="l" defTabSz="914377" rtl="0" eaLnBrk="1" latinLnBrk="0" hangingPunct="1">
              <a:buFontTx/>
              <a:buNone/>
              <a:defRPr lang="nl-NL" sz="3733" b="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0" indent="0" algn="l" defTabSz="914377" rtl="0" eaLnBrk="1" latinLnBrk="0" hangingPunct="1">
              <a:buFontTx/>
              <a:buNone/>
              <a:defRPr lang="nl-NL" sz="3733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7" rtl="0" eaLnBrk="1" latinLnBrk="0" hangingPunct="1">
              <a:buFontTx/>
              <a:buNone/>
              <a:defRPr lang="nl-NL" sz="3733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77" rtl="0" eaLnBrk="1" latinLnBrk="0" hangingPunct="1">
              <a:buFontTx/>
              <a:buNone/>
              <a:defRPr lang="nl-NL" sz="3733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77" rtl="0" eaLnBrk="1" latinLnBrk="0" hangingPunct="1">
              <a:buFontTx/>
              <a:buNone/>
              <a:defRPr lang="nl-BE" sz="37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nl-NL"/>
              <a:t>Hoofdtitel</a:t>
            </a:r>
            <a:endParaRPr lang="nl-BE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7EEE85B2-FCE7-4734-AF6A-950BD05C77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1351" y="1268061"/>
            <a:ext cx="11161279" cy="393457"/>
          </a:xfrm>
        </p:spPr>
        <p:txBody>
          <a:bodyPr/>
          <a:lstStyle>
            <a:lvl1pPr marL="0" indent="0">
              <a:buFontTx/>
              <a:buNone/>
              <a:defRPr sz="2667" cap="all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err="1"/>
              <a:t>Tussentitel</a:t>
            </a:r>
            <a:endParaRPr lang="en-US"/>
          </a:p>
        </p:txBody>
      </p:sp>
      <p:pic>
        <p:nvPicPr>
          <p:cNvPr id="9" name="Picture 9">
            <a:extLst>
              <a:ext uri="{FF2B5EF4-FFF2-40B4-BE49-F238E27FC236}">
                <a16:creationId xmlns:a16="http://schemas.microsoft.com/office/drawing/2014/main" id="{1EE003BA-BB5C-404C-AB0E-808144CD58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1023" y="6245385"/>
            <a:ext cx="1241605" cy="322495"/>
          </a:xfrm>
          <a:prstGeom prst="rect">
            <a:avLst/>
          </a:prstGeom>
        </p:spPr>
      </p:pic>
      <p:sp>
        <p:nvSpPr>
          <p:cNvPr id="2" name="Rechthoek 1">
            <a:extLst>
              <a:ext uri="{FF2B5EF4-FFF2-40B4-BE49-F238E27FC236}">
                <a16:creationId xmlns:a16="http://schemas.microsoft.com/office/drawing/2014/main" id="{D23BBC9E-493B-482C-A802-4EE81445416A}"/>
              </a:ext>
            </a:extLst>
          </p:cNvPr>
          <p:cNvSpPr/>
          <p:nvPr userDrawn="1"/>
        </p:nvSpPr>
        <p:spPr>
          <a:xfrm>
            <a:off x="1" y="0"/>
            <a:ext cx="239059" cy="6858000"/>
          </a:xfrm>
          <a:prstGeom prst="rect">
            <a:avLst/>
          </a:prstGeom>
          <a:solidFill>
            <a:srgbClr val="FF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2400"/>
          </a:p>
        </p:txBody>
      </p:sp>
    </p:spTree>
    <p:extLst>
      <p:ext uri="{BB962C8B-B14F-4D97-AF65-F5344CB8AC3E}">
        <p14:creationId xmlns:p14="http://schemas.microsoft.com/office/powerpoint/2010/main" val="2563788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js vl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2B140009-D296-44AC-9500-69C690B03F1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28732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//geel-grij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Rechte verbindingslijn 7">
            <a:extLst>
              <a:ext uri="{FF2B5EF4-FFF2-40B4-BE49-F238E27FC236}">
                <a16:creationId xmlns:a16="http://schemas.microsoft.com/office/drawing/2014/main" id="{80E438E6-1343-4C50-A189-72BCF2674F20}"/>
              </a:ext>
            </a:extLst>
          </p:cNvPr>
          <p:cNvCxnSpPr/>
          <p:nvPr userDrawn="1"/>
        </p:nvCxnSpPr>
        <p:spPr>
          <a:xfrm>
            <a:off x="720725" y="1440000"/>
            <a:ext cx="900000" cy="0"/>
          </a:xfrm>
          <a:prstGeom prst="line">
            <a:avLst/>
          </a:prstGeom>
          <a:ln w="50800">
            <a:solidFill>
              <a:srgbClr val="FFE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phic 9">
            <a:extLst>
              <a:ext uri="{FF2B5EF4-FFF2-40B4-BE49-F238E27FC236}">
                <a16:creationId xmlns:a16="http://schemas.microsoft.com/office/drawing/2014/main" id="{BA751AC2-9D5E-41BC-899A-2B7DB98B448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4010025" y="0"/>
            <a:ext cx="8181975" cy="1743075"/>
          </a:xfrm>
          <a:prstGeom prst="rect">
            <a:avLst/>
          </a:prstGeom>
        </p:spPr>
      </p:pic>
      <p:sp>
        <p:nvSpPr>
          <p:cNvPr id="14" name="Titel 13">
            <a:extLst>
              <a:ext uri="{FF2B5EF4-FFF2-40B4-BE49-F238E27FC236}">
                <a16:creationId xmlns:a16="http://schemas.microsoft.com/office/drawing/2014/main" id="{CFFADA01-1A92-42A5-8352-E3EEC3837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357189"/>
            <a:ext cx="10753200" cy="1080000"/>
          </a:xfrm>
        </p:spPr>
        <p:txBody>
          <a:bodyPr anchor="ctr" anchorCtr="0">
            <a:normAutofit/>
          </a:bodyPr>
          <a:lstStyle>
            <a:lvl1pPr>
              <a:defRPr sz="36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pic>
        <p:nvPicPr>
          <p:cNvPr id="7" name="Graphic 6">
            <a:hlinkClick r:id="" action="ppaction://noaction"/>
            <a:extLst>
              <a:ext uri="{FF2B5EF4-FFF2-40B4-BE49-F238E27FC236}">
                <a16:creationId xmlns:a16="http://schemas.microsoft.com/office/drawing/2014/main" id="{67F35D2E-ECCD-43E4-8A43-3320C8D4BB3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26557" y="5956050"/>
            <a:ext cx="1311431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587370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elpag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95C5BE4F-2A78-4816-845B-9A7B10A0322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0" y="3403260"/>
            <a:ext cx="12187024" cy="345474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A905F8F9-A082-4A0F-8A07-9AA5C01FC1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297642"/>
            <a:ext cx="12193200" cy="2715558"/>
          </a:xfrm>
        </p:spPr>
        <p:txBody>
          <a:bodyPr lIns="720000" tIns="360000" rIns="720000"/>
          <a:lstStyle/>
          <a:p>
            <a:r>
              <a:rPr lang="nl-NL"/>
              <a:t>Klik om stijl te bewerken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4911419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el-tekst//geel//LIJN//logoBove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65C809DF-DE53-4F87-BA6D-E6C07F856F9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725" y="1799999"/>
            <a:ext cx="10752138" cy="3960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32F63AF-17D1-4117-AD09-4BB236E7B21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5419725" y="0"/>
            <a:ext cx="6772275" cy="1438275"/>
          </a:xfrm>
          <a:prstGeom prst="rect">
            <a:avLst/>
          </a:prstGeom>
        </p:spPr>
      </p:pic>
      <p:sp>
        <p:nvSpPr>
          <p:cNvPr id="16" name="Titel 13">
            <a:extLst>
              <a:ext uri="{FF2B5EF4-FFF2-40B4-BE49-F238E27FC236}">
                <a16:creationId xmlns:a16="http://schemas.microsoft.com/office/drawing/2014/main" id="{F265506E-0B97-4EC8-A558-3BC473CC55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357189"/>
            <a:ext cx="10753200" cy="1080000"/>
          </a:xfrm>
        </p:spPr>
        <p:txBody>
          <a:bodyPr anchor="ctr" anchorCtr="0">
            <a:normAutofit/>
          </a:bodyPr>
          <a:lstStyle>
            <a:lvl1pPr>
              <a:lnSpc>
                <a:spcPct val="95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pic>
        <p:nvPicPr>
          <p:cNvPr id="7" name="Graphic 6">
            <a:hlinkClick r:id="" action="ppaction://noaction"/>
            <a:extLst>
              <a:ext uri="{FF2B5EF4-FFF2-40B4-BE49-F238E27FC236}">
                <a16:creationId xmlns:a16="http://schemas.microsoft.com/office/drawing/2014/main" id="{D51D7E58-7899-4B1F-A26A-C5E001A53B3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3638" y="357188"/>
            <a:ext cx="1008000" cy="415060"/>
          </a:xfrm>
          <a:prstGeom prst="rect">
            <a:avLst/>
          </a:prstGeom>
        </p:spPr>
      </p:pic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D63A4364-EF9D-49E9-84AA-D6F2A22D346A}"/>
              </a:ext>
            </a:extLst>
          </p:cNvPr>
          <p:cNvCxnSpPr/>
          <p:nvPr userDrawn="1"/>
        </p:nvCxnSpPr>
        <p:spPr>
          <a:xfrm>
            <a:off x="720725" y="1440000"/>
            <a:ext cx="900000" cy="0"/>
          </a:xfrm>
          <a:prstGeom prst="line">
            <a:avLst/>
          </a:prstGeom>
          <a:ln w="50800">
            <a:solidFill>
              <a:srgbClr val="FFE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16DA0C5A-296C-481E-93EC-5C3C0BB4A0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854D495-7224-4CA1-A1F2-96D892C452AE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7371821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6" name="Titeltekst"/>
          <p:cNvSpPr txBox="1">
            <a:spLocks noGrp="1"/>
          </p:cNvSpPr>
          <p:nvPr>
            <p:ph type="title"/>
          </p:nvPr>
        </p:nvSpPr>
        <p:spPr>
          <a:xfrm>
            <a:off x="1524000" y="1122362"/>
            <a:ext cx="9144000" cy="2387601"/>
          </a:xfrm>
          <a:prstGeom prst="rect">
            <a:avLst/>
          </a:prstGeom>
        </p:spPr>
        <p:txBody>
          <a:bodyPr anchor="b"/>
          <a:lstStyle>
            <a:lvl1pPr algn="ctr">
              <a:defRPr sz="6000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r>
              <a:t>Titeltekst</a:t>
            </a:r>
          </a:p>
        </p:txBody>
      </p:sp>
      <p:sp>
        <p:nvSpPr>
          <p:cNvPr id="1447" name="Hoofdtekst - niveau één…"/>
          <p:cNvSpPr txBox="1">
            <a:spLocks noGrp="1"/>
          </p:cNvSpPr>
          <p:nvPr>
            <p:ph type="body" sz="quarter" idx="1"/>
          </p:nvPr>
        </p:nvSpPr>
        <p:spPr>
          <a:xfrm>
            <a:off x="1524000" y="3602037"/>
            <a:ext cx="9144000" cy="1655765"/>
          </a:xfrm>
          <a:prstGeom prst="rect">
            <a:avLst/>
          </a:prstGeom>
        </p:spPr>
        <p:txBody>
          <a:bodyPr/>
          <a:lstStyle>
            <a:lvl1pPr algn="ctr">
              <a:defRPr sz="2400"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indent="0" algn="ctr">
              <a:buSzTx/>
              <a:buNone/>
              <a:defRPr sz="2400"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indent="0" algn="ctr">
              <a:buSzTx/>
              <a:buNone/>
              <a:defRPr sz="2400"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indent="0" algn="ctr">
              <a:buSzTx/>
              <a:buNone/>
              <a:defRPr sz="2400"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indent="0" algn="ctr">
              <a:buSzTx/>
              <a:buNone/>
              <a:defRPr sz="2400">
                <a:latin typeface="Helvetica Neue"/>
                <a:ea typeface="Helvetica Neue"/>
                <a:cs typeface="Helvetica Neue"/>
                <a:sym typeface="Helvetica Neue"/>
              </a:defRPr>
            </a:lvl5pPr>
          </a:lstStyle>
          <a:p>
            <a:r>
              <a:t>Hoofdtekst - niveau één</a:t>
            </a:r>
          </a:p>
          <a:p>
            <a:pPr lvl="1"/>
            <a:r>
              <a:t>Hoofdtekst - niveau twee</a:t>
            </a:r>
          </a:p>
          <a:p>
            <a:pPr lvl="2"/>
            <a:r>
              <a:t>Hoofdtekst - niveau drie</a:t>
            </a:r>
          </a:p>
          <a:p>
            <a:pPr lvl="3"/>
            <a:r>
              <a:t>Hoofdtekst - niveau vier</a:t>
            </a:r>
          </a:p>
          <a:p>
            <a:pPr lvl="4"/>
            <a:r>
              <a:t>Hoofdtekst - niveau vijf</a:t>
            </a:r>
          </a:p>
        </p:txBody>
      </p:sp>
      <p:sp>
        <p:nvSpPr>
          <p:cNvPr id="1448" name="Dianummer"/>
          <p:cNvSpPr txBox="1">
            <a:spLocks noGrp="1"/>
          </p:cNvSpPr>
          <p:nvPr>
            <p:ph type="sldNum" sz="quarter" idx="2"/>
          </p:nvPr>
        </p:nvSpPr>
        <p:spPr>
          <a:xfrm>
            <a:off x="11289107" y="6347699"/>
            <a:ext cx="182170" cy="186080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fld id="{86CB4B4D-7CA3-9044-876B-883B54F8677D}" type="slidenum"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57817945"/>
      </p:ext>
    </p:extLst>
  </p:cSld>
  <p:clrMapOvr>
    <a:masterClrMapping/>
  </p:clrMapOvr>
  <p:transition spd="med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-blijf op de hoog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2B140009-D296-44AC-9500-69C690B03F1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A905F8F9-A082-4A0F-8A07-9AA5C01FC1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260000"/>
            <a:ext cx="12193200" cy="1890000"/>
          </a:xfrm>
        </p:spPr>
        <p:txBody>
          <a:bodyPr lIns="720000" tIns="180000" rIns="720000"/>
          <a:lstStyle/>
          <a:p>
            <a:r>
              <a:rPr lang="nl-NL"/>
              <a:t>Klik om stijl te bewerken</a:t>
            </a:r>
            <a:endParaRPr lang="nl-BE"/>
          </a:p>
        </p:txBody>
      </p:sp>
      <p:pic>
        <p:nvPicPr>
          <p:cNvPr id="13" name="Graphic 12">
            <a:hlinkClick r:id="" action="ppaction://noaction"/>
            <a:extLst>
              <a:ext uri="{FF2B5EF4-FFF2-40B4-BE49-F238E27FC236}">
                <a16:creationId xmlns:a16="http://schemas.microsoft.com/office/drawing/2014/main" id="{93F3DD8F-13A3-465C-B867-049DA9BBBDE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0725" y="5778000"/>
            <a:ext cx="1748573" cy="720000"/>
          </a:xfrm>
          <a:prstGeom prst="rect">
            <a:avLst/>
          </a:prstGeom>
        </p:spPr>
      </p:pic>
      <p:pic>
        <p:nvPicPr>
          <p:cNvPr id="17" name="Graphic 16">
            <a:hlinkClick r:id="" action="ppaction://noaction"/>
            <a:extLst>
              <a:ext uri="{FF2B5EF4-FFF2-40B4-BE49-F238E27FC236}">
                <a16:creationId xmlns:a16="http://schemas.microsoft.com/office/drawing/2014/main" id="{AC77402D-E395-492E-8E40-C42BA6F6C7F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4800" y="540000"/>
            <a:ext cx="604550" cy="770400"/>
          </a:xfrm>
          <a:prstGeom prst="rect">
            <a:avLst/>
          </a:prstGeom>
        </p:spPr>
      </p:pic>
      <p:sp>
        <p:nvSpPr>
          <p:cNvPr id="19" name="Tijdelijke aanduiding voor tekst 18">
            <a:extLst>
              <a:ext uri="{FF2B5EF4-FFF2-40B4-BE49-F238E27FC236}">
                <a16:creationId xmlns:a16="http://schemas.microsoft.com/office/drawing/2014/main" id="{14019916-3AE5-40D8-9399-B27DF8CED5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726" y="3150000"/>
            <a:ext cx="10752138" cy="900000"/>
          </a:xfrm>
        </p:spPr>
        <p:txBody>
          <a:bodyPr anchor="ctr" anchorCtr="0"/>
          <a:lstStyle>
            <a:lvl2pPr marL="360000" indent="0">
              <a:buNone/>
              <a:defRPr/>
            </a:lvl2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26751486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-tekst//ge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65C809DF-DE53-4F87-BA6D-E6C07F856F9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725" y="1799999"/>
            <a:ext cx="10752138" cy="3960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32F63AF-17D1-4117-AD09-4BB236E7B21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5419725" y="0"/>
            <a:ext cx="6772275" cy="1438275"/>
          </a:xfrm>
          <a:prstGeom prst="rect">
            <a:avLst/>
          </a:prstGeom>
        </p:spPr>
      </p:pic>
      <p:cxnSp>
        <p:nvCxnSpPr>
          <p:cNvPr id="13" name="Rechte verbindingslijn 12">
            <a:extLst>
              <a:ext uri="{FF2B5EF4-FFF2-40B4-BE49-F238E27FC236}">
                <a16:creationId xmlns:a16="http://schemas.microsoft.com/office/drawing/2014/main" id="{D27E50D4-A8DB-4029-9EAD-2DF15AB10517}"/>
              </a:ext>
            </a:extLst>
          </p:cNvPr>
          <p:cNvCxnSpPr/>
          <p:nvPr userDrawn="1"/>
        </p:nvCxnSpPr>
        <p:spPr>
          <a:xfrm>
            <a:off x="720725" y="1440000"/>
            <a:ext cx="900000" cy="0"/>
          </a:xfrm>
          <a:prstGeom prst="line">
            <a:avLst/>
          </a:prstGeom>
          <a:ln w="50800">
            <a:solidFill>
              <a:srgbClr val="FFE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el 13">
            <a:extLst>
              <a:ext uri="{FF2B5EF4-FFF2-40B4-BE49-F238E27FC236}">
                <a16:creationId xmlns:a16="http://schemas.microsoft.com/office/drawing/2014/main" id="{F265506E-0B97-4EC8-A558-3BC473CC55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357189"/>
            <a:ext cx="10753200" cy="1080000"/>
          </a:xfrm>
        </p:spPr>
        <p:txBody>
          <a:bodyPr anchor="ctr" anchorCtr="0">
            <a:normAutofit/>
          </a:bodyPr>
          <a:lstStyle>
            <a:lvl1pPr>
              <a:defRPr sz="36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pic>
        <p:nvPicPr>
          <p:cNvPr id="7" name="Graphic 6">
            <a:hlinkClick r:id="" action="ppaction://noaction"/>
            <a:extLst>
              <a:ext uri="{FF2B5EF4-FFF2-40B4-BE49-F238E27FC236}">
                <a16:creationId xmlns:a16="http://schemas.microsoft.com/office/drawing/2014/main" id="{87167055-5011-4CF9-A470-D3C4D42020E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26557" y="5956050"/>
            <a:ext cx="1311431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982723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9-ABB_MISSIE O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>
            <a:extLst>
              <a:ext uri="{FF2B5EF4-FFF2-40B4-BE49-F238E27FC236}">
                <a16:creationId xmlns:a16="http://schemas.microsoft.com/office/drawing/2014/main" id="{6DEC8C36-793F-4F9B-A88C-AE0C41120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84"/>
          <a:stretch/>
        </p:blipFill>
        <p:spPr>
          <a:xfrm>
            <a:off x="252000" y="-2"/>
            <a:ext cx="5682930" cy="6855016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0730FD37-3AFD-4998-A139-53FA093F62F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5016"/>
          </a:xfrm>
          <a:prstGeom prst="rect">
            <a:avLst/>
          </a:prstGeom>
        </p:spPr>
      </p:pic>
      <p:sp>
        <p:nvSpPr>
          <p:cNvPr id="7" name="Titel 10">
            <a:extLst>
              <a:ext uri="{FF2B5EF4-FFF2-40B4-BE49-F238E27FC236}">
                <a16:creationId xmlns:a16="http://schemas.microsoft.com/office/drawing/2014/main" id="{85CA6835-A703-4473-918D-4B2D5488A3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0000" y="357188"/>
            <a:ext cx="6971638" cy="1081029"/>
          </a:xfrm>
          <a:noFill/>
        </p:spPr>
        <p:txBody>
          <a:bodyPr lIns="0" tIns="0" anchor="ctr" anchorCtr="0">
            <a:normAutofit/>
          </a:bodyPr>
          <a:lstStyle>
            <a:lvl1pPr algn="l">
              <a:defRPr sz="36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65C809DF-DE53-4F87-BA6D-E6C07F856F9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60000" y="1799999"/>
            <a:ext cx="6971638" cy="3960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pic>
        <p:nvPicPr>
          <p:cNvPr id="8" name="Graphic 7">
            <a:hlinkClick r:id="" action="ppaction://noaction"/>
            <a:extLst>
              <a:ext uri="{FF2B5EF4-FFF2-40B4-BE49-F238E27FC236}">
                <a16:creationId xmlns:a16="http://schemas.microsoft.com/office/drawing/2014/main" id="{0DDEF4AD-57BA-47C4-A3A3-BCC1F0BDC70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8775" y="357188"/>
            <a:ext cx="1008000" cy="415060"/>
          </a:xfrm>
          <a:prstGeom prst="rect">
            <a:avLst/>
          </a:prstGeom>
        </p:spPr>
      </p:pic>
      <p:cxnSp>
        <p:nvCxnSpPr>
          <p:cNvPr id="10" name="Rechte verbindingslijn 9">
            <a:extLst>
              <a:ext uri="{FF2B5EF4-FFF2-40B4-BE49-F238E27FC236}">
                <a16:creationId xmlns:a16="http://schemas.microsoft.com/office/drawing/2014/main" id="{261E8574-92FB-45B0-8324-0FDBB0603D6D}"/>
              </a:ext>
            </a:extLst>
          </p:cNvPr>
          <p:cNvCxnSpPr/>
          <p:nvPr userDrawn="1"/>
        </p:nvCxnSpPr>
        <p:spPr>
          <a:xfrm>
            <a:off x="4860000" y="1440000"/>
            <a:ext cx="900000" cy="0"/>
          </a:xfrm>
          <a:prstGeom prst="line">
            <a:avLst/>
          </a:prstGeom>
          <a:ln w="50800">
            <a:solidFill>
              <a:srgbClr val="FFE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994558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ijs vl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2B140009-D296-44AC-9500-69C690B03F1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129623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09DAA9C-A4A5-4BB6-A6C9-72B98E8CB2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978895" y="295663"/>
            <a:ext cx="9770211" cy="6203066"/>
          </a:xfrm>
          <a:prstGeom prst="rect">
            <a:avLst/>
          </a:prstGeom>
        </p:spPr>
      </p:pic>
      <p:grpSp>
        <p:nvGrpSpPr>
          <p:cNvPr id="16" name="Groeperen 15"/>
          <p:cNvGrpSpPr/>
          <p:nvPr userDrawn="1"/>
        </p:nvGrpSpPr>
        <p:grpSpPr>
          <a:xfrm>
            <a:off x="384002" y="288001"/>
            <a:ext cx="7448033" cy="6265475"/>
            <a:chOff x="288001" y="288000"/>
            <a:chExt cx="6033505" cy="6265475"/>
          </a:xfrm>
          <a:solidFill>
            <a:srgbClr val="FFFF00"/>
          </a:solidFill>
        </p:grpSpPr>
        <p:sp>
          <p:nvSpPr>
            <p:cNvPr id="12" name="Rechthoek 11"/>
            <p:cNvSpPr>
              <a:spLocks/>
            </p:cNvSpPr>
            <p:nvPr userDrawn="1"/>
          </p:nvSpPr>
          <p:spPr>
            <a:xfrm>
              <a:off x="288001" y="288000"/>
              <a:ext cx="4248000" cy="6265475"/>
            </a:xfrm>
            <a:prstGeom prst="rect">
              <a:avLst/>
            </a:prstGeom>
            <a:grpFill/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/>
            </a:p>
          </p:txBody>
        </p:sp>
        <p:sp>
          <p:nvSpPr>
            <p:cNvPr id="13" name="Rechthoekige driehoek 12"/>
            <p:cNvSpPr/>
            <p:nvPr userDrawn="1"/>
          </p:nvSpPr>
          <p:spPr>
            <a:xfrm>
              <a:off x="4536000" y="288000"/>
              <a:ext cx="1785506" cy="6264000"/>
            </a:xfrm>
            <a:prstGeom prst="rtTriangle">
              <a:avLst/>
            </a:prstGeom>
            <a:grpFill/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/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776000" y="2556000"/>
            <a:ext cx="5088000" cy="1943998"/>
          </a:xfrm>
        </p:spPr>
        <p:txBody>
          <a:bodyPr wrap="square" anchor="t" anchorCtr="0">
            <a:noAutofit/>
          </a:bodyPr>
          <a:lstStyle>
            <a:lvl1pPr algn="l">
              <a:lnSpc>
                <a:spcPts val="5200"/>
              </a:lnSpc>
              <a:defRPr sz="5200" b="0" i="0">
                <a:latin typeface="FlandersArtSans-Bold" panose="00000800000000000000" pitchFamily="2" charset="0"/>
                <a:cs typeface="FlandersArtSans-Bold" panose="00000800000000000000" pitchFamily="2" charset="0"/>
              </a:defRPr>
            </a:lvl1pPr>
          </a:lstStyle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1778103" y="4650972"/>
            <a:ext cx="5088000" cy="1224000"/>
          </a:xfrm>
          <a:prstGeom prst="rect">
            <a:avLst/>
          </a:prstGeom>
        </p:spPr>
        <p:txBody>
          <a:bodyPr bIns="0">
            <a:noAutofit/>
          </a:bodyPr>
          <a:lstStyle>
            <a:lvl1pPr marL="0" indent="0" algn="l">
              <a:lnSpc>
                <a:spcPts val="1760"/>
              </a:lnSpc>
              <a:buNone/>
              <a:defRPr sz="158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 om de ondertitelstijl van het model te bewerken</a:t>
            </a:r>
            <a:endParaRPr lang="nl-BE"/>
          </a:p>
        </p:txBody>
      </p:sp>
      <p:pic>
        <p:nvPicPr>
          <p:cNvPr id="10" name="Afbeelding 14">
            <a:extLst>
              <a:ext uri="{FF2B5EF4-FFF2-40B4-BE49-F238E27FC236}">
                <a16:creationId xmlns:a16="http://schemas.microsoft.com/office/drawing/2014/main" id="{6C2F83B6-5F64-46CB-BF82-C2C74808F4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001" y="623028"/>
            <a:ext cx="2404071" cy="720000"/>
          </a:xfrm>
          <a:prstGeom prst="rect">
            <a:avLst/>
          </a:prstGeom>
        </p:spPr>
      </p:pic>
      <p:pic>
        <p:nvPicPr>
          <p:cNvPr id="15" name="Afbeelding 9">
            <a:extLst>
              <a:ext uri="{FF2B5EF4-FFF2-40B4-BE49-F238E27FC236}">
                <a16:creationId xmlns:a16="http://schemas.microsoft.com/office/drawing/2014/main" id="{7966834F-961A-4C5B-AD07-5BDA3EE72DD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585" y="5897913"/>
            <a:ext cx="1505715" cy="624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44179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eperen 11"/>
          <p:cNvGrpSpPr/>
          <p:nvPr userDrawn="1"/>
        </p:nvGrpSpPr>
        <p:grpSpPr>
          <a:xfrm>
            <a:off x="384000" y="288001"/>
            <a:ext cx="11404675" cy="6265475"/>
            <a:chOff x="288000" y="288000"/>
            <a:chExt cx="8553506" cy="6265475"/>
          </a:xfrm>
        </p:grpSpPr>
        <p:sp>
          <p:nvSpPr>
            <p:cNvPr id="10" name="Rechthoek 9"/>
            <p:cNvSpPr>
              <a:spLocks/>
            </p:cNvSpPr>
            <p:nvPr userDrawn="1"/>
          </p:nvSpPr>
          <p:spPr>
            <a:xfrm>
              <a:off x="288000" y="288000"/>
              <a:ext cx="6767999" cy="6265475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/>
            </a:p>
          </p:txBody>
        </p:sp>
        <p:sp>
          <p:nvSpPr>
            <p:cNvPr id="11" name="Rechthoekige driehoek 10"/>
            <p:cNvSpPr/>
            <p:nvPr userDrawn="1"/>
          </p:nvSpPr>
          <p:spPr>
            <a:xfrm>
              <a:off x="7056000" y="288000"/>
              <a:ext cx="1785506" cy="6264000"/>
            </a:xfrm>
            <a:prstGeom prst="rtTriangle">
              <a:avLst/>
            </a:prstGeom>
            <a:solidFill>
              <a:srgbClr val="FFFF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/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072000" y="2520001"/>
            <a:ext cx="7122776" cy="1579711"/>
          </a:xfrm>
        </p:spPr>
        <p:txBody>
          <a:bodyPr anchor="b" anchorCtr="0">
            <a:noAutofit/>
          </a:bodyPr>
          <a:lstStyle>
            <a:lvl1pPr algn="l">
              <a:lnSpc>
                <a:spcPts val="5400"/>
              </a:lnSpc>
              <a:defRPr sz="5400" b="0" i="0">
                <a:latin typeface="FlandersArtSans-Bold" panose="00000800000000000000" pitchFamily="2" charset="0"/>
                <a:cs typeface="FlandersArtSans-Bold" panose="00000800000000000000" pitchFamily="2" charset="0"/>
              </a:defRPr>
            </a:lvl1pPr>
          </a:lstStyle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3072000" y="4174702"/>
            <a:ext cx="7139475" cy="1053708"/>
          </a:xfrm>
          <a:prstGeom prst="rect">
            <a:avLst/>
          </a:prstGeom>
        </p:spPr>
        <p:txBody>
          <a:bodyPr bIns="0">
            <a:noAutofit/>
          </a:bodyPr>
          <a:lstStyle>
            <a:lvl1pPr marL="0" indent="0" algn="l">
              <a:lnSpc>
                <a:spcPts val="1760"/>
              </a:lnSpc>
              <a:buNone/>
              <a:defRPr sz="158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 om de ondertitelstijl van het model te bewerken</a:t>
            </a:r>
            <a:endParaRPr lang="nl-BE"/>
          </a:p>
        </p:txBody>
      </p:sp>
      <p:sp>
        <p:nvSpPr>
          <p:cNvPr id="13" name="Tijdelijke aanduiding voor tekst 2"/>
          <p:cNvSpPr>
            <a:spLocks noGrp="1"/>
          </p:cNvSpPr>
          <p:nvPr>
            <p:ph idx="12" hasCustomPrompt="1"/>
          </p:nvPr>
        </p:nvSpPr>
        <p:spPr>
          <a:xfrm>
            <a:off x="672001" y="6044105"/>
            <a:ext cx="6364320" cy="352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FontTx/>
              <a:buNone/>
              <a:defRPr sz="1700">
                <a:latin typeface="FlandersArtSans-Regular" panose="00000500000000000000" pitchFamily="2" charset="0"/>
              </a:defRPr>
            </a:lvl1pPr>
            <a:lvl5pPr>
              <a:defRPr>
                <a:latin typeface="FlandersArtSans-Regular" panose="00000500000000000000" pitchFamily="2" charset="0"/>
              </a:defRPr>
            </a:lvl5pPr>
          </a:lstStyle>
          <a:p>
            <a:pPr lvl="0"/>
            <a:r>
              <a:rPr lang="nl-NL"/>
              <a:t>KLIK OM DE MODELSTIJLEN TE BEWERKEN</a:t>
            </a:r>
          </a:p>
          <a:p>
            <a:pPr lvl="4"/>
            <a:endParaRPr lang="nl-BE"/>
          </a:p>
        </p:txBody>
      </p:sp>
      <p:pic>
        <p:nvPicPr>
          <p:cNvPr id="9" name="Afbeelding 14">
            <a:extLst>
              <a:ext uri="{FF2B5EF4-FFF2-40B4-BE49-F238E27FC236}">
                <a16:creationId xmlns:a16="http://schemas.microsoft.com/office/drawing/2014/main" id="{6F892429-7591-44E4-88EE-854B2BB129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001" y="623028"/>
            <a:ext cx="2404071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3226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B_domein00_algemeen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E5ED4797-6B38-4DEC-A43D-AF91CC36E67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0" y="0"/>
            <a:ext cx="1747930" cy="6858000"/>
          </a:xfrm>
          <a:prstGeom prst="rect">
            <a:avLst/>
          </a:prstGeom>
        </p:spPr>
      </p:pic>
      <p:sp>
        <p:nvSpPr>
          <p:cNvPr id="11" name="Titel 10">
            <a:extLst>
              <a:ext uri="{FF2B5EF4-FFF2-40B4-BE49-F238E27FC236}">
                <a16:creationId xmlns:a16="http://schemas.microsoft.com/office/drawing/2014/main" id="{2E250162-3FBD-465A-A88D-B1EF97043D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0000" y="720000"/>
            <a:ext cx="9493924" cy="720000"/>
          </a:xfrm>
        </p:spPr>
        <p:txBody>
          <a:bodyPr lIns="0" anchor="ctr" anchorCtr="0">
            <a:normAutofit/>
          </a:bodyPr>
          <a:lstStyle>
            <a:lvl1pPr>
              <a:defRPr sz="36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1E1B337E-B563-4F3A-9CDE-5329B589DA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80000" y="1980000"/>
            <a:ext cx="9496800" cy="4157275"/>
          </a:xfrm>
        </p:spPr>
        <p:txBody>
          <a:bodyPr lIns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pic>
        <p:nvPicPr>
          <p:cNvPr id="7" name="Graphic 6">
            <a:hlinkClick r:id="" action="ppaction://noaction"/>
            <a:extLst>
              <a:ext uri="{FF2B5EF4-FFF2-40B4-BE49-F238E27FC236}">
                <a16:creationId xmlns:a16="http://schemas.microsoft.com/office/drawing/2014/main" id="{9428F45E-814A-4F25-BF29-6D4EDF953B7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8774" y="357189"/>
            <a:ext cx="1008000" cy="415058"/>
          </a:xfrm>
          <a:prstGeom prst="rect">
            <a:avLst/>
          </a:prstGeom>
        </p:spPr>
      </p:pic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54FFD4E6-B8F9-4E64-B530-04AF07E085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979999" y="359999"/>
            <a:ext cx="9492863" cy="396000"/>
          </a:xfrm>
        </p:spPr>
        <p:txBody>
          <a:bodyPr anchor="b" anchorCtr="0">
            <a:normAutofit/>
          </a:bodyPr>
          <a:lstStyle>
            <a:lvl1pPr>
              <a:defRPr sz="1200">
                <a:latin typeface="FlandersArtSans-Medium" panose="00000600000000000000" pitchFamily="2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399116495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eperen 3"/>
          <p:cNvGrpSpPr/>
          <p:nvPr userDrawn="1"/>
        </p:nvGrpSpPr>
        <p:grpSpPr>
          <a:xfrm>
            <a:off x="1968001" y="288001"/>
            <a:ext cx="9839999" cy="6265475"/>
            <a:chOff x="1476000" y="288000"/>
            <a:chExt cx="7379999" cy="6265475"/>
          </a:xfrm>
        </p:grpSpPr>
        <p:sp>
          <p:nvSpPr>
            <p:cNvPr id="8" name="Rechthoek 7"/>
            <p:cNvSpPr>
              <a:spLocks/>
            </p:cNvSpPr>
            <p:nvPr userDrawn="1"/>
          </p:nvSpPr>
          <p:spPr>
            <a:xfrm>
              <a:off x="3277896" y="288000"/>
              <a:ext cx="5578103" cy="6265475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/>
            </a:p>
          </p:txBody>
        </p:sp>
        <p:sp>
          <p:nvSpPr>
            <p:cNvPr id="10" name="Rechthoekige driehoek 9"/>
            <p:cNvSpPr/>
            <p:nvPr userDrawn="1"/>
          </p:nvSpPr>
          <p:spPr>
            <a:xfrm flipH="1">
              <a:off x="1476000" y="288000"/>
              <a:ext cx="1800000" cy="6264000"/>
            </a:xfrm>
            <a:prstGeom prst="rtTriangle">
              <a:avLst/>
            </a:prstGeom>
            <a:solidFill>
              <a:schemeClr val="bg2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/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328069" y="2104574"/>
            <a:ext cx="5088000" cy="2484000"/>
          </a:xfrm>
        </p:spPr>
        <p:txBody>
          <a:bodyPr anchor="t" anchorCtr="0">
            <a:noAutofit/>
          </a:bodyPr>
          <a:lstStyle>
            <a:lvl1pPr algn="l">
              <a:lnSpc>
                <a:spcPts val="5400"/>
              </a:lnSpc>
              <a:defRPr sz="5400"/>
            </a:lvl1pPr>
          </a:lstStyle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5334443" y="4631622"/>
            <a:ext cx="5088000" cy="1224000"/>
          </a:xfrm>
          <a:prstGeom prst="rect">
            <a:avLst/>
          </a:prstGeom>
        </p:spPr>
        <p:txBody>
          <a:bodyPr bIns="0">
            <a:noAutofit/>
          </a:bodyPr>
          <a:lstStyle>
            <a:lvl1pPr marL="0" indent="0" algn="l">
              <a:lnSpc>
                <a:spcPts val="1760"/>
              </a:lnSpc>
              <a:spcBef>
                <a:spcPts val="0"/>
              </a:spcBef>
              <a:buNone/>
              <a:defRPr sz="158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 om de ondertitelstijl van het model te bewerken</a:t>
            </a:r>
            <a:endParaRPr lang="nl-BE"/>
          </a:p>
        </p:txBody>
      </p:sp>
      <p:pic>
        <p:nvPicPr>
          <p:cNvPr id="6" name="Afbeelding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003" y="288000"/>
            <a:ext cx="2115691" cy="823000"/>
          </a:xfrm>
          <a:prstGeom prst="rect">
            <a:avLst/>
          </a:prstGeom>
        </p:spPr>
      </p:pic>
      <p:sp>
        <p:nvSpPr>
          <p:cNvPr id="12" name="Tijdelijke aanduiding voor tekst 2"/>
          <p:cNvSpPr>
            <a:spLocks noGrp="1"/>
          </p:cNvSpPr>
          <p:nvPr>
            <p:ph idx="12" hasCustomPrompt="1"/>
          </p:nvPr>
        </p:nvSpPr>
        <p:spPr>
          <a:xfrm>
            <a:off x="4848029" y="6044105"/>
            <a:ext cx="6364320" cy="352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r">
              <a:buFontTx/>
              <a:buNone/>
              <a:defRPr sz="1700">
                <a:latin typeface="FlandersArtSans-Regular" panose="00000500000000000000" pitchFamily="2" charset="0"/>
              </a:defRPr>
            </a:lvl1pPr>
            <a:lvl5pPr algn="r">
              <a:defRPr>
                <a:latin typeface="FlandersArtSans-Regular" panose="00000500000000000000" pitchFamily="2" charset="0"/>
              </a:defRPr>
            </a:lvl5pPr>
          </a:lstStyle>
          <a:p>
            <a:pPr lvl="0"/>
            <a:r>
              <a:rPr lang="nl-NL"/>
              <a:t>KLIK OM DE MODELSTIJLEN TE BEWERKEN</a:t>
            </a:r>
          </a:p>
          <a:p>
            <a:pPr lvl="4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8000927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angepaste inde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afbeelding 2"/>
          <p:cNvSpPr>
            <a:spLocks noGrp="1"/>
          </p:cNvSpPr>
          <p:nvPr>
            <p:ph type="pic" sz="quarter" idx="14"/>
          </p:nvPr>
        </p:nvSpPr>
        <p:spPr>
          <a:xfrm>
            <a:off x="0" y="-1"/>
            <a:ext cx="12192000" cy="6858001"/>
          </a:xfrm>
        </p:spPr>
        <p:txBody>
          <a:bodyPr anchor="ctr"/>
          <a:lstStyle>
            <a:lvl1pPr marL="0" indent="0" algn="r">
              <a:buNone/>
              <a:defRPr>
                <a:solidFill>
                  <a:srgbClr val="FF0000"/>
                </a:solidFill>
              </a:defRPr>
            </a:lvl1pPr>
          </a:lstStyle>
          <a:p>
            <a:endParaRPr lang="nl-BE"/>
          </a:p>
        </p:txBody>
      </p:sp>
      <p:grpSp>
        <p:nvGrpSpPr>
          <p:cNvPr id="11" name="Groep 10"/>
          <p:cNvGrpSpPr/>
          <p:nvPr userDrawn="1"/>
        </p:nvGrpSpPr>
        <p:grpSpPr>
          <a:xfrm>
            <a:off x="-1" y="0"/>
            <a:ext cx="8304000" cy="6858000"/>
            <a:chOff x="288001" y="288000"/>
            <a:chExt cx="6033505" cy="6265475"/>
          </a:xfrm>
        </p:grpSpPr>
        <p:sp>
          <p:nvSpPr>
            <p:cNvPr id="9" name="Rechthoek 8"/>
            <p:cNvSpPr>
              <a:spLocks/>
            </p:cNvSpPr>
            <p:nvPr userDrawn="1"/>
          </p:nvSpPr>
          <p:spPr>
            <a:xfrm flipV="1">
              <a:off x="288001" y="288000"/>
              <a:ext cx="4248000" cy="626547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/>
            </a:p>
          </p:txBody>
        </p:sp>
        <p:sp>
          <p:nvSpPr>
            <p:cNvPr id="10" name="Rechthoekige driehoek 9"/>
            <p:cNvSpPr/>
            <p:nvPr userDrawn="1"/>
          </p:nvSpPr>
          <p:spPr>
            <a:xfrm flipV="1">
              <a:off x="4536000" y="288000"/>
              <a:ext cx="1785506" cy="6264000"/>
            </a:xfrm>
            <a:prstGeom prst="rtTriangle">
              <a:avLst/>
            </a:prstGeom>
            <a:solidFill>
              <a:schemeClr val="bg2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/>
            </a:p>
          </p:txBody>
        </p:sp>
      </p:grp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>
          <a:xfrm>
            <a:off x="9168019" y="6328279"/>
            <a:ext cx="2855495" cy="365125"/>
          </a:xfrm>
          <a:prstGeom prst="rect">
            <a:avLst/>
          </a:prstGeom>
        </p:spPr>
        <p:txBody>
          <a:bodyPr/>
          <a:lstStyle>
            <a:lvl1pPr>
              <a:defRPr sz="900">
                <a:latin typeface="FlandersArtSans-Regular" panose="00000500000000000000" pitchFamily="2" charset="0"/>
              </a:defRPr>
            </a:lvl1pPr>
          </a:lstStyle>
          <a:p>
            <a:fld id="{7749CDD0-7D77-4D23-9A27-F361E39BA472}" type="datetime1">
              <a:rPr lang="nl-BE" smtClean="0"/>
              <a:pPr/>
              <a:t>24/04/2026</a:t>
            </a:fld>
            <a:r>
              <a:rPr lang="nl-BE"/>
              <a:t> </a:t>
            </a:r>
            <a:r>
              <a:rPr lang="nl-BE" b="1"/>
              <a:t>│</a:t>
            </a:r>
            <a:fld id="{B263F6C6-2226-4286-8995-C42CB1E7C290}" type="slidenum">
              <a:rPr lang="nl-BE" smtClean="0"/>
              <a:pPr/>
              <a:t>‹nr.›</a:t>
            </a:fld>
            <a:endParaRPr lang="nl-BE"/>
          </a:p>
        </p:txBody>
      </p:sp>
      <p:sp>
        <p:nvSpPr>
          <p:cNvPr id="8" name="Titel 1"/>
          <p:cNvSpPr>
            <a:spLocks noGrp="1"/>
          </p:cNvSpPr>
          <p:nvPr>
            <p:ph type="ctrTitle"/>
          </p:nvPr>
        </p:nvSpPr>
        <p:spPr>
          <a:xfrm>
            <a:off x="1776001" y="756846"/>
            <a:ext cx="4608175" cy="1800000"/>
          </a:xfrm>
        </p:spPr>
        <p:txBody>
          <a:bodyPr anchor="b" anchorCtr="0">
            <a:noAutofit/>
          </a:bodyPr>
          <a:lstStyle>
            <a:lvl1pPr algn="l">
              <a:lnSpc>
                <a:spcPts val="3800"/>
              </a:lnSpc>
              <a:defRPr sz="3700" b="0" i="0">
                <a:latin typeface="FlandersArtSans-Bold" panose="00000800000000000000" pitchFamily="2" charset="0"/>
                <a:cs typeface="FlandersArtSans-Bold" panose="00000800000000000000" pitchFamily="2" charset="0"/>
              </a:defRPr>
            </a:lvl1pPr>
          </a:lstStyle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5" name="Tijdelijke aanduiding voor inhoud 4"/>
          <p:cNvSpPr>
            <a:spLocks noGrp="1"/>
          </p:cNvSpPr>
          <p:nvPr>
            <p:ph sz="quarter" idx="13"/>
          </p:nvPr>
        </p:nvSpPr>
        <p:spPr>
          <a:xfrm>
            <a:off x="1776000" y="2987448"/>
            <a:ext cx="4150237" cy="2770098"/>
          </a:xfrm>
        </p:spPr>
        <p:txBody>
          <a:bodyPr/>
          <a:lstStyle>
            <a:lvl1pPr marL="0" indent="0">
              <a:lnSpc>
                <a:spcPts val="2500"/>
              </a:lnSpc>
              <a:spcBef>
                <a:spcPts val="0"/>
              </a:spcBef>
              <a:buFontTx/>
              <a:buNone/>
              <a:defRPr sz="2100">
                <a:latin typeface="FlandersArtSans-Regular" panose="00000500000000000000" pitchFamily="2" charset="0"/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84402923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oot zonder inhoud met vo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DEF0D9-A297-4871-9327-C373EDE7A7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263FD04-0310-4F81-8E1F-336DB2118E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BE"/>
              <a:t>31/01/2019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007EA39-8060-4B85-BA92-3058CE2114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BE"/>
              <a:t>Organisatiestructuur DigiTeam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E4907A3-38F9-43C4-ACC3-64A455E559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BE"/>
              <a:t>| </a:t>
            </a:r>
            <a:fld id="{492AD3B4-D906-4191-84FB-4FE613E48036}" type="slidenum">
              <a:rPr lang="nl-BE" smtClean="0"/>
              <a:pPr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49446564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elpagina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2B140009-D296-44AC-9500-69C690B03F1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A905F8F9-A082-4A0F-8A07-9AA5C01FC1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260000"/>
            <a:ext cx="12193200" cy="1890000"/>
          </a:xfrm>
        </p:spPr>
        <p:txBody>
          <a:bodyPr lIns="720000" tIns="180000" rIns="720000"/>
          <a:lstStyle/>
          <a:p>
            <a:r>
              <a:rPr lang="nl-NL"/>
              <a:t>Klik om stijl te bewerken</a:t>
            </a:r>
            <a:endParaRPr lang="nl-BE"/>
          </a:p>
        </p:txBody>
      </p:sp>
      <p:pic>
        <p:nvPicPr>
          <p:cNvPr id="13" name="Graphic 12">
            <a:hlinkClick r:id="" action="ppaction://noaction"/>
            <a:extLst>
              <a:ext uri="{FF2B5EF4-FFF2-40B4-BE49-F238E27FC236}">
                <a16:creationId xmlns:a16="http://schemas.microsoft.com/office/drawing/2014/main" id="{93F3DD8F-13A3-465C-B867-049DA9BBBDE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0725" y="5778000"/>
            <a:ext cx="1748573" cy="720000"/>
          </a:xfrm>
          <a:prstGeom prst="rect">
            <a:avLst/>
          </a:prstGeom>
        </p:spPr>
      </p:pic>
      <p:sp>
        <p:nvSpPr>
          <p:cNvPr id="16" name="TextBox 6">
            <a:extLst>
              <a:ext uri="{FF2B5EF4-FFF2-40B4-BE49-F238E27FC236}">
                <a16:creationId xmlns:a16="http://schemas.microsoft.com/office/drawing/2014/main" id="{F8211DB1-FC17-4EF1-A4A6-AA4A87F5388A}"/>
              </a:ext>
            </a:extLst>
          </p:cNvPr>
          <p:cNvSpPr txBox="1"/>
          <p:nvPr userDrawn="1"/>
        </p:nvSpPr>
        <p:spPr>
          <a:xfrm>
            <a:off x="8238611" y="5832108"/>
            <a:ext cx="3600000" cy="720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/>
            <a:r>
              <a:rPr lang="nl-BE" sz="1800">
                <a:solidFill>
                  <a:srgbClr val="373737"/>
                </a:solidFill>
                <a:latin typeface="FlandersArtSans-Medium" panose="00000600000000000000" pitchFamily="2" charset="0"/>
                <a:hlinkClick r:id="rId4"/>
              </a:rPr>
              <a:t>binnenland.vlaanderen.be</a:t>
            </a:r>
            <a:endParaRPr lang="nl-BE" sz="1800">
              <a:solidFill>
                <a:srgbClr val="373737"/>
              </a:solidFill>
              <a:latin typeface="FlandersArtSans-Medium" panose="00000600000000000000" pitchFamily="2" charset="0"/>
            </a:endParaRPr>
          </a:p>
        </p:txBody>
      </p:sp>
      <p:pic>
        <p:nvPicPr>
          <p:cNvPr id="17" name="Graphic 16">
            <a:hlinkClick r:id="" action="ppaction://noaction"/>
            <a:extLst>
              <a:ext uri="{FF2B5EF4-FFF2-40B4-BE49-F238E27FC236}">
                <a16:creationId xmlns:a16="http://schemas.microsoft.com/office/drawing/2014/main" id="{AC77402D-E395-492E-8E40-C42BA6F6C7F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4800" y="540000"/>
            <a:ext cx="604550" cy="770400"/>
          </a:xfrm>
          <a:prstGeom prst="rect">
            <a:avLst/>
          </a:prstGeom>
        </p:spPr>
      </p:pic>
      <p:sp>
        <p:nvSpPr>
          <p:cNvPr id="19" name="Tijdelijke aanduiding voor tekst 18">
            <a:extLst>
              <a:ext uri="{FF2B5EF4-FFF2-40B4-BE49-F238E27FC236}">
                <a16:creationId xmlns:a16="http://schemas.microsoft.com/office/drawing/2014/main" id="{14019916-3AE5-40D8-9399-B27DF8CED5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726" y="3150000"/>
            <a:ext cx="10752138" cy="900000"/>
          </a:xfrm>
        </p:spPr>
        <p:txBody>
          <a:bodyPr anchor="ctr" anchorCtr="0"/>
          <a:lstStyle>
            <a:lvl2pPr marL="360000" indent="0">
              <a:buNone/>
              <a:defRPr/>
            </a:lvl2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41244719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-tekst//geel-grij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Rechte verbindingslijn 7">
            <a:extLst>
              <a:ext uri="{FF2B5EF4-FFF2-40B4-BE49-F238E27FC236}">
                <a16:creationId xmlns:a16="http://schemas.microsoft.com/office/drawing/2014/main" id="{80E438E6-1343-4C50-A189-72BCF2674F20}"/>
              </a:ext>
            </a:extLst>
          </p:cNvPr>
          <p:cNvCxnSpPr/>
          <p:nvPr userDrawn="1"/>
        </p:nvCxnSpPr>
        <p:spPr>
          <a:xfrm>
            <a:off x="720725" y="1440000"/>
            <a:ext cx="900000" cy="0"/>
          </a:xfrm>
          <a:prstGeom prst="line">
            <a:avLst/>
          </a:prstGeom>
          <a:ln w="50800">
            <a:solidFill>
              <a:srgbClr val="FFE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phic 9">
            <a:extLst>
              <a:ext uri="{FF2B5EF4-FFF2-40B4-BE49-F238E27FC236}">
                <a16:creationId xmlns:a16="http://schemas.microsoft.com/office/drawing/2014/main" id="{BA751AC2-9D5E-41BC-899A-2B7DB98B448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4010025" y="0"/>
            <a:ext cx="8181975" cy="1743075"/>
          </a:xfrm>
          <a:prstGeom prst="rect">
            <a:avLst/>
          </a:prstGeom>
        </p:spPr>
      </p:pic>
      <p:sp>
        <p:nvSpPr>
          <p:cNvPr id="14" name="Titel 13">
            <a:extLst>
              <a:ext uri="{FF2B5EF4-FFF2-40B4-BE49-F238E27FC236}">
                <a16:creationId xmlns:a16="http://schemas.microsoft.com/office/drawing/2014/main" id="{CFFADA01-1A92-42A5-8352-E3EEC3837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357189"/>
            <a:ext cx="10753200" cy="1080000"/>
          </a:xfrm>
        </p:spPr>
        <p:txBody>
          <a:bodyPr anchor="ctr" anchorCtr="0">
            <a:normAutofit/>
          </a:bodyPr>
          <a:lstStyle>
            <a:lvl1pPr>
              <a:defRPr sz="40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15" name="Tijdelijke aanduiding voor tekst 2">
            <a:extLst>
              <a:ext uri="{FF2B5EF4-FFF2-40B4-BE49-F238E27FC236}">
                <a16:creationId xmlns:a16="http://schemas.microsoft.com/office/drawing/2014/main" id="{6A43CE44-E083-4BCC-B28E-A7F4B39010B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725" y="1799999"/>
            <a:ext cx="10752138" cy="3960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pic>
        <p:nvPicPr>
          <p:cNvPr id="7" name="Graphic 6">
            <a:hlinkClick r:id="" action="ppaction://noaction"/>
            <a:extLst>
              <a:ext uri="{FF2B5EF4-FFF2-40B4-BE49-F238E27FC236}">
                <a16:creationId xmlns:a16="http://schemas.microsoft.com/office/drawing/2014/main" id="{67F35D2E-ECCD-43E4-8A43-3320C8D4BB3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26557" y="5956050"/>
            <a:ext cx="1311431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841945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9-ABB_MISSIE O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>
            <a:extLst>
              <a:ext uri="{FF2B5EF4-FFF2-40B4-BE49-F238E27FC236}">
                <a16:creationId xmlns:a16="http://schemas.microsoft.com/office/drawing/2014/main" id="{6DEC8C36-793F-4F9B-A88C-AE0C41120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84"/>
          <a:stretch/>
        </p:blipFill>
        <p:spPr>
          <a:xfrm>
            <a:off x="252000" y="-2"/>
            <a:ext cx="5682930" cy="6855016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0730FD37-3AFD-4998-A139-53FA093F62F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5016"/>
          </a:xfrm>
          <a:prstGeom prst="rect">
            <a:avLst/>
          </a:prstGeom>
        </p:spPr>
      </p:pic>
      <p:sp>
        <p:nvSpPr>
          <p:cNvPr id="7" name="Titel 10">
            <a:extLst>
              <a:ext uri="{FF2B5EF4-FFF2-40B4-BE49-F238E27FC236}">
                <a16:creationId xmlns:a16="http://schemas.microsoft.com/office/drawing/2014/main" id="{85CA6835-A703-4473-918D-4B2D5488A3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0000" y="357188"/>
            <a:ext cx="6971638" cy="1081029"/>
          </a:xfrm>
          <a:noFill/>
        </p:spPr>
        <p:txBody>
          <a:bodyPr lIns="0" tIns="0" anchor="ctr" anchorCtr="0">
            <a:normAutofit/>
          </a:bodyPr>
          <a:lstStyle>
            <a:lvl1pPr algn="l">
              <a:defRPr sz="40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65C809DF-DE53-4F87-BA6D-E6C07F856F9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60000" y="1799999"/>
            <a:ext cx="6971638" cy="3960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pic>
        <p:nvPicPr>
          <p:cNvPr id="8" name="Graphic 7">
            <a:hlinkClick r:id="" action="ppaction://noaction"/>
            <a:extLst>
              <a:ext uri="{FF2B5EF4-FFF2-40B4-BE49-F238E27FC236}">
                <a16:creationId xmlns:a16="http://schemas.microsoft.com/office/drawing/2014/main" id="{0DDEF4AD-57BA-47C4-A3A3-BCC1F0BDC70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8775" y="357188"/>
            <a:ext cx="1008000" cy="415060"/>
          </a:xfrm>
          <a:prstGeom prst="rect">
            <a:avLst/>
          </a:prstGeom>
        </p:spPr>
      </p:pic>
      <p:cxnSp>
        <p:nvCxnSpPr>
          <p:cNvPr id="10" name="Rechte verbindingslijn 9">
            <a:extLst>
              <a:ext uri="{FF2B5EF4-FFF2-40B4-BE49-F238E27FC236}">
                <a16:creationId xmlns:a16="http://schemas.microsoft.com/office/drawing/2014/main" id="{261E8574-92FB-45B0-8324-0FDBB0603D6D}"/>
              </a:ext>
            </a:extLst>
          </p:cNvPr>
          <p:cNvCxnSpPr/>
          <p:nvPr userDrawn="1"/>
        </p:nvCxnSpPr>
        <p:spPr>
          <a:xfrm>
            <a:off x="4860000" y="1440000"/>
            <a:ext cx="900000" cy="0"/>
          </a:xfrm>
          <a:prstGeom prst="line">
            <a:avLst/>
          </a:prstGeom>
          <a:ln w="50800">
            <a:solidFill>
              <a:srgbClr val="FFE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34498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BB_domein00_algemeen+lij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E5ED4797-6B38-4DEC-A43D-AF91CC36E67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0" y="0"/>
            <a:ext cx="1747930" cy="6858000"/>
          </a:xfrm>
          <a:prstGeom prst="rect">
            <a:avLst/>
          </a:prstGeom>
        </p:spPr>
      </p:pic>
      <p:sp>
        <p:nvSpPr>
          <p:cNvPr id="11" name="Titel 10">
            <a:extLst>
              <a:ext uri="{FF2B5EF4-FFF2-40B4-BE49-F238E27FC236}">
                <a16:creationId xmlns:a16="http://schemas.microsoft.com/office/drawing/2014/main" id="{2E250162-3FBD-465A-A88D-B1EF97043D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0000" y="357188"/>
            <a:ext cx="9493924" cy="1082812"/>
          </a:xfrm>
        </p:spPr>
        <p:txBody>
          <a:bodyPr lIns="0" anchor="ctr" anchorCtr="0">
            <a:normAutofit/>
          </a:bodyPr>
          <a:lstStyle>
            <a:lvl1pPr>
              <a:defRPr sz="40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1E1B337E-B563-4F3A-9CDE-5329B589DA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80000" y="1980000"/>
            <a:ext cx="9496800" cy="4157275"/>
          </a:xfrm>
        </p:spPr>
        <p:txBody>
          <a:bodyPr lIns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pic>
        <p:nvPicPr>
          <p:cNvPr id="7" name="Graphic 6">
            <a:hlinkClick r:id="" action="ppaction://noaction"/>
            <a:extLst>
              <a:ext uri="{FF2B5EF4-FFF2-40B4-BE49-F238E27FC236}">
                <a16:creationId xmlns:a16="http://schemas.microsoft.com/office/drawing/2014/main" id="{9428F45E-814A-4F25-BF29-6D4EDF953B7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8774" y="357189"/>
            <a:ext cx="1008000" cy="415058"/>
          </a:xfrm>
          <a:prstGeom prst="rect">
            <a:avLst/>
          </a:prstGeom>
        </p:spPr>
      </p:pic>
      <p:cxnSp>
        <p:nvCxnSpPr>
          <p:cNvPr id="10" name="Rechte verbindingslijn 9">
            <a:extLst>
              <a:ext uri="{FF2B5EF4-FFF2-40B4-BE49-F238E27FC236}">
                <a16:creationId xmlns:a16="http://schemas.microsoft.com/office/drawing/2014/main" id="{E3A148CB-828F-4DFD-AA4C-69725B2E3FBA}"/>
              </a:ext>
            </a:extLst>
          </p:cNvPr>
          <p:cNvCxnSpPr/>
          <p:nvPr userDrawn="1"/>
        </p:nvCxnSpPr>
        <p:spPr>
          <a:xfrm>
            <a:off x="1979999" y="1620000"/>
            <a:ext cx="900000" cy="0"/>
          </a:xfrm>
          <a:prstGeom prst="line">
            <a:avLst/>
          </a:prstGeom>
          <a:ln w="50800">
            <a:solidFill>
              <a:srgbClr val="FFE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285900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oorpag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Afbeelding 16">
            <a:extLst>
              <a:ext uri="{FF2B5EF4-FFF2-40B4-BE49-F238E27FC236}">
                <a16:creationId xmlns:a16="http://schemas.microsoft.com/office/drawing/2014/main" id="{DC9B652E-EEED-49F2-A7E1-CDB2CA1EC66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217"/>
          <a:stretch/>
        </p:blipFill>
        <p:spPr>
          <a:xfrm>
            <a:off x="0" y="0"/>
            <a:ext cx="12192000" cy="4896874"/>
          </a:xfrm>
          <a:prstGeom prst="rect">
            <a:avLst/>
          </a:prstGeom>
        </p:spPr>
      </p:pic>
      <p:pic>
        <p:nvPicPr>
          <p:cNvPr id="3" name="Afbeelding 2">
            <a:extLst>
              <a:ext uri="{FF2B5EF4-FFF2-40B4-BE49-F238E27FC236}">
                <a16:creationId xmlns:a16="http://schemas.microsoft.com/office/drawing/2014/main" id="{1504C38A-C048-4F7B-BE12-F20F4C154D8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2322871"/>
            <a:ext cx="12193199" cy="4535450"/>
          </a:xfrm>
          <a:prstGeom prst="rect">
            <a:avLst/>
          </a:prstGeom>
        </p:spPr>
      </p:pic>
      <p:sp>
        <p:nvSpPr>
          <p:cNvPr id="15" name="TextBox 6">
            <a:extLst>
              <a:ext uri="{FF2B5EF4-FFF2-40B4-BE49-F238E27FC236}">
                <a16:creationId xmlns:a16="http://schemas.microsoft.com/office/drawing/2014/main" id="{E258003E-8830-4CF5-ACCD-F685F338C066}"/>
              </a:ext>
            </a:extLst>
          </p:cNvPr>
          <p:cNvSpPr txBox="1"/>
          <p:nvPr userDrawn="1"/>
        </p:nvSpPr>
        <p:spPr>
          <a:xfrm>
            <a:off x="8238611" y="5832108"/>
            <a:ext cx="3600000" cy="720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/>
            <a:r>
              <a:rPr lang="nl-BE" sz="1800" u="none">
                <a:solidFill>
                  <a:srgbClr val="373737"/>
                </a:solidFill>
                <a:latin typeface="FlandersArtSans-Medium" panose="00000600000000000000" pitchFamily="2" charset="0"/>
                <a:hlinkClick r:id="rId4"/>
              </a:rPr>
              <a:t>binnenland.vlaanderen.be</a:t>
            </a:r>
            <a:endParaRPr lang="nl-BE" sz="1800" u="none">
              <a:solidFill>
                <a:srgbClr val="373737"/>
              </a:solidFill>
              <a:latin typeface="FlandersArtSans-Medium" panose="00000600000000000000" pitchFamily="2" charset="0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BE" sz="1800">
                <a:solidFill>
                  <a:schemeClr val="tx2"/>
                </a:solidFill>
              </a:rPr>
              <a:t>#burgers #bestuur #verbinden</a:t>
            </a: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6B42DCD9-D851-4D77-A5EB-7E23F08E7D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000" y="5778000"/>
            <a:ext cx="5370702" cy="774000"/>
          </a:xfrm>
        </p:spPr>
        <p:txBody>
          <a:bodyPr tIns="0" anchor="b" anchorCtr="0">
            <a:normAutofit/>
          </a:bodyPr>
          <a:lstStyle>
            <a:lvl1pPr>
              <a:lnSpc>
                <a:spcPct val="100000"/>
              </a:lnSpc>
              <a:defRPr sz="1800"/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1C1ACF8B-F1E5-4DA3-8932-3FDFCA4463A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13200" y="540058"/>
            <a:ext cx="1980000" cy="768493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D9D792B-D741-490B-A147-8994E29CF3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5040000"/>
            <a:ext cx="5370702" cy="720000"/>
          </a:xfrm>
        </p:spPr>
        <p:txBody>
          <a:bodyPr anchor="b" anchorCtr="0">
            <a:normAutofit/>
          </a:bodyPr>
          <a:lstStyle>
            <a:lvl1pPr>
              <a:defRPr sz="24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1237B09D-A56B-4D67-83C5-C5AB7E370700}"/>
              </a:ext>
            </a:extLst>
          </p:cNvPr>
          <p:cNvSpPr txBox="1"/>
          <p:nvPr userDrawn="1"/>
        </p:nvSpPr>
        <p:spPr>
          <a:xfrm>
            <a:off x="720725" y="3429000"/>
            <a:ext cx="7200000" cy="126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nl-BE" sz="3500">
                <a:latin typeface="+mj-lt"/>
              </a:rPr>
              <a:t>Voorstelling </a:t>
            </a:r>
            <a:br>
              <a:rPr lang="nl-BE" sz="3500">
                <a:latin typeface="+mj-lt"/>
              </a:rPr>
            </a:br>
            <a:r>
              <a:rPr lang="nl-BE" sz="3500">
                <a:latin typeface="+mj-lt"/>
              </a:rPr>
              <a:t>Agentschap Binnenlands Bestuur</a:t>
            </a:r>
          </a:p>
        </p:txBody>
      </p:sp>
    </p:spTree>
    <p:extLst>
      <p:ext uri="{BB962C8B-B14F-4D97-AF65-F5344CB8AC3E}">
        <p14:creationId xmlns:p14="http://schemas.microsoft.com/office/powerpoint/2010/main" val="121536803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3007778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-blijf op de hoog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2B140009-D296-44AC-9500-69C690B03F1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A905F8F9-A082-4A0F-8A07-9AA5C01FC1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260000"/>
            <a:ext cx="12193200" cy="1890000"/>
          </a:xfrm>
        </p:spPr>
        <p:txBody>
          <a:bodyPr lIns="720000" tIns="180000" rIns="720000"/>
          <a:lstStyle/>
          <a:p>
            <a:r>
              <a:rPr lang="nl-NL"/>
              <a:t>Klik om stijl te bewerken</a:t>
            </a:r>
            <a:endParaRPr lang="nl-BE"/>
          </a:p>
        </p:txBody>
      </p:sp>
      <p:pic>
        <p:nvPicPr>
          <p:cNvPr id="13" name="Graphic 12">
            <a:hlinkClick r:id="" action="ppaction://noaction"/>
            <a:extLst>
              <a:ext uri="{FF2B5EF4-FFF2-40B4-BE49-F238E27FC236}">
                <a16:creationId xmlns:a16="http://schemas.microsoft.com/office/drawing/2014/main" id="{93F3DD8F-13A3-465C-B867-049DA9BBBDE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0725" y="5778000"/>
            <a:ext cx="1748573" cy="720000"/>
          </a:xfrm>
          <a:prstGeom prst="rect">
            <a:avLst/>
          </a:prstGeom>
        </p:spPr>
      </p:pic>
      <p:pic>
        <p:nvPicPr>
          <p:cNvPr id="17" name="Graphic 16">
            <a:hlinkClick r:id="rId4" action="ppaction://hlinksldjump"/>
            <a:extLst>
              <a:ext uri="{FF2B5EF4-FFF2-40B4-BE49-F238E27FC236}">
                <a16:creationId xmlns:a16="http://schemas.microsoft.com/office/drawing/2014/main" id="{AC77402D-E395-492E-8E40-C42BA6F6C7F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4800" y="540000"/>
            <a:ext cx="604550" cy="770400"/>
          </a:xfrm>
          <a:prstGeom prst="rect">
            <a:avLst/>
          </a:prstGeom>
        </p:spPr>
      </p:pic>
      <p:sp>
        <p:nvSpPr>
          <p:cNvPr id="19" name="Tijdelijke aanduiding voor tekst 18">
            <a:extLst>
              <a:ext uri="{FF2B5EF4-FFF2-40B4-BE49-F238E27FC236}">
                <a16:creationId xmlns:a16="http://schemas.microsoft.com/office/drawing/2014/main" id="{14019916-3AE5-40D8-9399-B27DF8CED5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726" y="3150000"/>
            <a:ext cx="10752138" cy="900000"/>
          </a:xfrm>
        </p:spPr>
        <p:txBody>
          <a:bodyPr anchor="ctr" anchorCtr="0"/>
          <a:lstStyle>
            <a:lvl2pPr marL="360000" indent="0">
              <a:buNone/>
              <a:defRPr/>
            </a:lvl2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36436444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4.xml"/><Relationship Id="rId18" Type="http://schemas.openxmlformats.org/officeDocument/2006/relationships/slideLayout" Target="../slideLayouts/slideLayout69.xml"/><Relationship Id="rId26" Type="http://schemas.openxmlformats.org/officeDocument/2006/relationships/slideLayout" Target="../slideLayouts/slideLayout77.xml"/><Relationship Id="rId39" Type="http://schemas.openxmlformats.org/officeDocument/2006/relationships/oleObject" Target="../embeddings/oleObject1.bin"/><Relationship Id="rId21" Type="http://schemas.openxmlformats.org/officeDocument/2006/relationships/slideLayout" Target="../slideLayouts/slideLayout72.xml"/><Relationship Id="rId34" Type="http://schemas.openxmlformats.org/officeDocument/2006/relationships/slideLayout" Target="../slideLayouts/slideLayout85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17" Type="http://schemas.openxmlformats.org/officeDocument/2006/relationships/slideLayout" Target="../slideLayouts/slideLayout68.xml"/><Relationship Id="rId25" Type="http://schemas.openxmlformats.org/officeDocument/2006/relationships/slideLayout" Target="../slideLayouts/slideLayout76.xml"/><Relationship Id="rId33" Type="http://schemas.openxmlformats.org/officeDocument/2006/relationships/slideLayout" Target="../slideLayouts/slideLayout84.xml"/><Relationship Id="rId38" Type="http://schemas.openxmlformats.org/officeDocument/2006/relationships/tags" Target="../tags/tag1.xml"/><Relationship Id="rId2" Type="http://schemas.openxmlformats.org/officeDocument/2006/relationships/slideLayout" Target="../slideLayouts/slideLayout53.xml"/><Relationship Id="rId16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71.xml"/><Relationship Id="rId29" Type="http://schemas.openxmlformats.org/officeDocument/2006/relationships/slideLayout" Target="../slideLayouts/slideLayout80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24" Type="http://schemas.openxmlformats.org/officeDocument/2006/relationships/slideLayout" Target="../slideLayouts/slideLayout75.xml"/><Relationship Id="rId32" Type="http://schemas.openxmlformats.org/officeDocument/2006/relationships/slideLayout" Target="../slideLayouts/slideLayout83.xml"/><Relationship Id="rId37" Type="http://schemas.openxmlformats.org/officeDocument/2006/relationships/theme" Target="../theme/theme2.xml"/><Relationship Id="rId40" Type="http://schemas.openxmlformats.org/officeDocument/2006/relationships/image" Target="../media/image38.emf"/><Relationship Id="rId5" Type="http://schemas.openxmlformats.org/officeDocument/2006/relationships/slideLayout" Target="../slideLayouts/slideLayout56.xml"/><Relationship Id="rId15" Type="http://schemas.openxmlformats.org/officeDocument/2006/relationships/slideLayout" Target="../slideLayouts/slideLayout66.xml"/><Relationship Id="rId23" Type="http://schemas.openxmlformats.org/officeDocument/2006/relationships/slideLayout" Target="../slideLayouts/slideLayout74.xml"/><Relationship Id="rId28" Type="http://schemas.openxmlformats.org/officeDocument/2006/relationships/slideLayout" Target="../slideLayouts/slideLayout79.xml"/><Relationship Id="rId36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70.xml"/><Relationship Id="rId31" Type="http://schemas.openxmlformats.org/officeDocument/2006/relationships/slideLayout" Target="../slideLayouts/slideLayout82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slideLayout" Target="../slideLayouts/slideLayout65.xml"/><Relationship Id="rId22" Type="http://schemas.openxmlformats.org/officeDocument/2006/relationships/slideLayout" Target="../slideLayouts/slideLayout73.xml"/><Relationship Id="rId27" Type="http://schemas.openxmlformats.org/officeDocument/2006/relationships/slideLayout" Target="../slideLayouts/slideLayout78.xml"/><Relationship Id="rId30" Type="http://schemas.openxmlformats.org/officeDocument/2006/relationships/slideLayout" Target="../slideLayouts/slideLayout81.xml"/><Relationship Id="rId35" Type="http://schemas.openxmlformats.org/officeDocument/2006/relationships/slideLayout" Target="../slideLayouts/slideLayout86.xml"/><Relationship Id="rId8" Type="http://schemas.openxmlformats.org/officeDocument/2006/relationships/slideLayout" Target="../slideLayouts/slideLayout59.xml"/><Relationship Id="rId3" Type="http://schemas.openxmlformats.org/officeDocument/2006/relationships/slideLayout" Target="../slideLayouts/slideLayout5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18" Type="http://schemas.openxmlformats.org/officeDocument/2006/relationships/image" Target="../media/image37.png"/><Relationship Id="rId3" Type="http://schemas.openxmlformats.org/officeDocument/2006/relationships/slideLayout" Target="../slideLayouts/slideLayout90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image" Target="../media/image36.png"/><Relationship Id="rId2" Type="http://schemas.openxmlformats.org/officeDocument/2006/relationships/slideLayout" Target="../slideLayouts/slideLayout89.xml"/><Relationship Id="rId16" Type="http://schemas.openxmlformats.org/officeDocument/2006/relationships/image" Target="../media/image32.png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2.xml"/><Relationship Id="rId15" Type="http://schemas.openxmlformats.org/officeDocument/2006/relationships/image" Target="../media/image31.png"/><Relationship Id="rId10" Type="http://schemas.openxmlformats.org/officeDocument/2006/relationships/slideLayout" Target="../slideLayouts/slideLayout97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.xml"/><Relationship Id="rId13" Type="http://schemas.openxmlformats.org/officeDocument/2006/relationships/image" Target="../media/image36.png"/><Relationship Id="rId3" Type="http://schemas.openxmlformats.org/officeDocument/2006/relationships/slideLayout" Target="../slideLayouts/slideLayout103.xml"/><Relationship Id="rId7" Type="http://schemas.openxmlformats.org/officeDocument/2006/relationships/slideLayout" Target="../slideLayouts/slideLayout107.xml"/><Relationship Id="rId12" Type="http://schemas.openxmlformats.org/officeDocument/2006/relationships/image" Target="../media/image32.png"/><Relationship Id="rId2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image" Target="../media/image31.png"/><Relationship Id="rId5" Type="http://schemas.openxmlformats.org/officeDocument/2006/relationships/slideLayout" Target="../slideLayouts/slideLayout105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104.xml"/><Relationship Id="rId9" Type="http://schemas.openxmlformats.org/officeDocument/2006/relationships/slideLayout" Target="../slideLayouts/slideLayout109.xml"/><Relationship Id="rId14" Type="http://schemas.openxmlformats.org/officeDocument/2006/relationships/image" Target="../media/image37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7.xml"/><Relationship Id="rId13" Type="http://schemas.openxmlformats.org/officeDocument/2006/relationships/slideLayout" Target="../slideLayouts/slideLayout122.xml"/><Relationship Id="rId18" Type="http://schemas.openxmlformats.org/officeDocument/2006/relationships/slideLayout" Target="../slideLayouts/slideLayout127.xml"/><Relationship Id="rId26" Type="http://schemas.openxmlformats.org/officeDocument/2006/relationships/slideLayout" Target="../slideLayouts/slideLayout135.xml"/><Relationship Id="rId3" Type="http://schemas.openxmlformats.org/officeDocument/2006/relationships/slideLayout" Target="../slideLayouts/slideLayout112.xml"/><Relationship Id="rId21" Type="http://schemas.openxmlformats.org/officeDocument/2006/relationships/slideLayout" Target="../slideLayouts/slideLayout130.xml"/><Relationship Id="rId7" Type="http://schemas.openxmlformats.org/officeDocument/2006/relationships/slideLayout" Target="../slideLayouts/slideLayout116.xml"/><Relationship Id="rId12" Type="http://schemas.openxmlformats.org/officeDocument/2006/relationships/slideLayout" Target="../slideLayouts/slideLayout121.xml"/><Relationship Id="rId17" Type="http://schemas.openxmlformats.org/officeDocument/2006/relationships/slideLayout" Target="../slideLayouts/slideLayout126.xml"/><Relationship Id="rId25" Type="http://schemas.openxmlformats.org/officeDocument/2006/relationships/slideLayout" Target="../slideLayouts/slideLayout134.xml"/><Relationship Id="rId2" Type="http://schemas.openxmlformats.org/officeDocument/2006/relationships/slideLayout" Target="../slideLayouts/slideLayout111.xml"/><Relationship Id="rId16" Type="http://schemas.openxmlformats.org/officeDocument/2006/relationships/slideLayout" Target="../slideLayouts/slideLayout125.xml"/><Relationship Id="rId20" Type="http://schemas.openxmlformats.org/officeDocument/2006/relationships/slideLayout" Target="../slideLayouts/slideLayout129.xml"/><Relationship Id="rId29" Type="http://schemas.openxmlformats.org/officeDocument/2006/relationships/slideLayout" Target="../slideLayouts/slideLayout138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1" Type="http://schemas.openxmlformats.org/officeDocument/2006/relationships/slideLayout" Target="../slideLayouts/slideLayout120.xml"/><Relationship Id="rId24" Type="http://schemas.openxmlformats.org/officeDocument/2006/relationships/slideLayout" Target="../slideLayouts/slideLayout133.xml"/><Relationship Id="rId5" Type="http://schemas.openxmlformats.org/officeDocument/2006/relationships/slideLayout" Target="../slideLayouts/slideLayout114.xml"/><Relationship Id="rId15" Type="http://schemas.openxmlformats.org/officeDocument/2006/relationships/slideLayout" Target="../slideLayouts/slideLayout124.xml"/><Relationship Id="rId23" Type="http://schemas.openxmlformats.org/officeDocument/2006/relationships/slideLayout" Target="../slideLayouts/slideLayout132.xml"/><Relationship Id="rId28" Type="http://schemas.openxmlformats.org/officeDocument/2006/relationships/slideLayout" Target="../slideLayouts/slideLayout137.xml"/><Relationship Id="rId10" Type="http://schemas.openxmlformats.org/officeDocument/2006/relationships/slideLayout" Target="../slideLayouts/slideLayout119.xml"/><Relationship Id="rId19" Type="http://schemas.openxmlformats.org/officeDocument/2006/relationships/slideLayout" Target="../slideLayouts/slideLayout128.xml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Relationship Id="rId14" Type="http://schemas.openxmlformats.org/officeDocument/2006/relationships/slideLayout" Target="../slideLayouts/slideLayout123.xml"/><Relationship Id="rId22" Type="http://schemas.openxmlformats.org/officeDocument/2006/relationships/slideLayout" Target="../slideLayouts/slideLayout131.xml"/><Relationship Id="rId27" Type="http://schemas.openxmlformats.org/officeDocument/2006/relationships/slideLayout" Target="../slideLayouts/slideLayout136.xml"/><Relationship Id="rId30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6.xml"/><Relationship Id="rId13" Type="http://schemas.openxmlformats.org/officeDocument/2006/relationships/slideLayout" Target="../slideLayouts/slideLayout151.xml"/><Relationship Id="rId18" Type="http://schemas.openxmlformats.org/officeDocument/2006/relationships/slideLayout" Target="../slideLayouts/slideLayout156.xml"/><Relationship Id="rId26" Type="http://schemas.openxmlformats.org/officeDocument/2006/relationships/slideLayout" Target="../slideLayouts/slideLayout164.xml"/><Relationship Id="rId3" Type="http://schemas.openxmlformats.org/officeDocument/2006/relationships/slideLayout" Target="../slideLayouts/slideLayout141.xml"/><Relationship Id="rId21" Type="http://schemas.openxmlformats.org/officeDocument/2006/relationships/slideLayout" Target="../slideLayouts/slideLayout159.xml"/><Relationship Id="rId7" Type="http://schemas.openxmlformats.org/officeDocument/2006/relationships/slideLayout" Target="../slideLayouts/slideLayout145.xml"/><Relationship Id="rId12" Type="http://schemas.openxmlformats.org/officeDocument/2006/relationships/slideLayout" Target="../slideLayouts/slideLayout150.xml"/><Relationship Id="rId17" Type="http://schemas.openxmlformats.org/officeDocument/2006/relationships/slideLayout" Target="../slideLayouts/slideLayout155.xml"/><Relationship Id="rId25" Type="http://schemas.openxmlformats.org/officeDocument/2006/relationships/slideLayout" Target="../slideLayouts/slideLayout163.xml"/><Relationship Id="rId2" Type="http://schemas.openxmlformats.org/officeDocument/2006/relationships/slideLayout" Target="../slideLayouts/slideLayout140.xml"/><Relationship Id="rId16" Type="http://schemas.openxmlformats.org/officeDocument/2006/relationships/slideLayout" Target="../slideLayouts/slideLayout154.xml"/><Relationship Id="rId20" Type="http://schemas.openxmlformats.org/officeDocument/2006/relationships/slideLayout" Target="../slideLayouts/slideLayout158.xml"/><Relationship Id="rId29" Type="http://schemas.openxmlformats.org/officeDocument/2006/relationships/theme" Target="../theme/theme6.xml"/><Relationship Id="rId1" Type="http://schemas.openxmlformats.org/officeDocument/2006/relationships/slideLayout" Target="../slideLayouts/slideLayout139.xml"/><Relationship Id="rId6" Type="http://schemas.openxmlformats.org/officeDocument/2006/relationships/slideLayout" Target="../slideLayouts/slideLayout144.xml"/><Relationship Id="rId11" Type="http://schemas.openxmlformats.org/officeDocument/2006/relationships/slideLayout" Target="../slideLayouts/slideLayout149.xml"/><Relationship Id="rId24" Type="http://schemas.openxmlformats.org/officeDocument/2006/relationships/slideLayout" Target="../slideLayouts/slideLayout162.xml"/><Relationship Id="rId5" Type="http://schemas.openxmlformats.org/officeDocument/2006/relationships/slideLayout" Target="../slideLayouts/slideLayout143.xml"/><Relationship Id="rId15" Type="http://schemas.openxmlformats.org/officeDocument/2006/relationships/slideLayout" Target="../slideLayouts/slideLayout153.xml"/><Relationship Id="rId23" Type="http://schemas.openxmlformats.org/officeDocument/2006/relationships/slideLayout" Target="../slideLayouts/slideLayout161.xml"/><Relationship Id="rId28" Type="http://schemas.openxmlformats.org/officeDocument/2006/relationships/slideLayout" Target="../slideLayouts/slideLayout166.xml"/><Relationship Id="rId10" Type="http://schemas.openxmlformats.org/officeDocument/2006/relationships/slideLayout" Target="../slideLayouts/slideLayout148.xml"/><Relationship Id="rId19" Type="http://schemas.openxmlformats.org/officeDocument/2006/relationships/slideLayout" Target="../slideLayouts/slideLayout157.xml"/><Relationship Id="rId4" Type="http://schemas.openxmlformats.org/officeDocument/2006/relationships/slideLayout" Target="../slideLayouts/slideLayout142.xml"/><Relationship Id="rId9" Type="http://schemas.openxmlformats.org/officeDocument/2006/relationships/slideLayout" Target="../slideLayouts/slideLayout147.xml"/><Relationship Id="rId14" Type="http://schemas.openxmlformats.org/officeDocument/2006/relationships/slideLayout" Target="../slideLayouts/slideLayout152.xml"/><Relationship Id="rId22" Type="http://schemas.openxmlformats.org/officeDocument/2006/relationships/slideLayout" Target="../slideLayouts/slideLayout160.xml"/><Relationship Id="rId27" Type="http://schemas.openxmlformats.org/officeDocument/2006/relationships/slideLayout" Target="../slideLayouts/slideLayout16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87A7F4C2-74F3-4E24-8084-D1F621D104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725" y="719137"/>
            <a:ext cx="10753200" cy="1080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41571051-88ED-4924-8254-9771FA3184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0724" y="2159999"/>
            <a:ext cx="10753200" cy="3600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C70644A3-858C-43F7-9A1A-3528A4847B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137275"/>
            <a:ext cx="4114800" cy="39650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07BDB760-F448-4F55-9667-802CEFE6F2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8076" y="6137275"/>
            <a:ext cx="2743200" cy="39650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54D495-7224-4CA1-A1F2-96D892C452AE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222889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2" r:id="rId14"/>
    <p:sldLayoutId id="2147483713" r:id="rId15"/>
    <p:sldLayoutId id="2147483714" r:id="rId16"/>
    <p:sldLayoutId id="2147483715" r:id="rId17"/>
    <p:sldLayoutId id="2147483716" r:id="rId18"/>
    <p:sldLayoutId id="2147483717" r:id="rId19"/>
    <p:sldLayoutId id="2147483718" r:id="rId20"/>
    <p:sldLayoutId id="2147483719" r:id="rId21"/>
    <p:sldLayoutId id="2147483720" r:id="rId22"/>
    <p:sldLayoutId id="2147483721" r:id="rId23"/>
    <p:sldLayoutId id="2147483722" r:id="rId24"/>
    <p:sldLayoutId id="2147483723" r:id="rId25"/>
    <p:sldLayoutId id="2147483724" r:id="rId26"/>
    <p:sldLayoutId id="2147483727" r:id="rId27"/>
    <p:sldLayoutId id="2147483728" r:id="rId28"/>
    <p:sldLayoutId id="2147483729" r:id="rId29"/>
    <p:sldLayoutId id="2147483730" r:id="rId30"/>
    <p:sldLayoutId id="2147483731" r:id="rId31"/>
    <p:sldLayoutId id="2147483732" r:id="rId32"/>
    <p:sldLayoutId id="2147483733" r:id="rId33"/>
    <p:sldLayoutId id="2147483734" r:id="rId34"/>
    <p:sldLayoutId id="2147483735" r:id="rId35"/>
    <p:sldLayoutId id="2147483736" r:id="rId36"/>
    <p:sldLayoutId id="2147483737" r:id="rId37"/>
    <p:sldLayoutId id="2147483738" r:id="rId38"/>
    <p:sldLayoutId id="2147483739" r:id="rId39"/>
    <p:sldLayoutId id="2147483740" r:id="rId40"/>
    <p:sldLayoutId id="2147483741" r:id="rId41"/>
    <p:sldLayoutId id="2147483742" r:id="rId42"/>
    <p:sldLayoutId id="2147483743" r:id="rId43"/>
    <p:sldLayoutId id="2147483744" r:id="rId44"/>
    <p:sldLayoutId id="2147483745" r:id="rId45"/>
    <p:sldLayoutId id="2147483746" r:id="rId46"/>
    <p:sldLayoutId id="2147483747" r:id="rId47"/>
    <p:sldLayoutId id="2147483748" r:id="rId48"/>
    <p:sldLayoutId id="2147483755" r:id="rId49"/>
    <p:sldLayoutId id="2147483756" r:id="rId50"/>
    <p:sldLayoutId id="2147483757" r:id="rId5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5000" kern="1200">
          <a:solidFill>
            <a:schemeClr val="tx1"/>
          </a:solidFill>
          <a:latin typeface="FlandersArtSans-Medium" panose="00000600000000000000" pitchFamily="2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FlandersArtSans-Regular" panose="00000500000000000000" pitchFamily="2" charset="0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20000"/>
        </a:lnSpc>
        <a:spcBef>
          <a:spcPts val="0"/>
        </a:spcBef>
        <a:buSzPct val="9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FlandersArtSans-Regular" panose="00000500000000000000" pitchFamily="2" charset="0"/>
          <a:ea typeface="+mn-ea"/>
          <a:cs typeface="+mn-cs"/>
        </a:defRPr>
      </a:lvl2pPr>
      <a:lvl3pPr marL="720000" indent="-180000" algn="l" defTabSz="914400" rtl="0" eaLnBrk="1" latinLnBrk="0" hangingPunct="1">
        <a:lnSpc>
          <a:spcPct val="120000"/>
        </a:lnSpc>
        <a:spcBef>
          <a:spcPts val="0"/>
        </a:spcBef>
        <a:buSzPct val="80000"/>
        <a:buFont typeface="FlandersArtSans-Regular" panose="00000500000000000000" pitchFamily="2" charset="0"/>
        <a:buChar char="°"/>
        <a:defRPr sz="1700" kern="1200">
          <a:solidFill>
            <a:schemeClr val="tx1"/>
          </a:solidFill>
          <a:latin typeface="FlandersArtSans-Regular" panose="00000500000000000000" pitchFamily="2" charset="0"/>
          <a:ea typeface="+mn-ea"/>
          <a:cs typeface="+mn-cs"/>
        </a:defRPr>
      </a:lvl3pPr>
      <a:lvl4pPr marL="1080000" indent="-18000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FlandersArtSans-Regular" panose="00000500000000000000" pitchFamily="2" charset="0"/>
          <a:ea typeface="+mn-ea"/>
          <a:cs typeface="+mn-cs"/>
        </a:defRPr>
      </a:lvl4pPr>
      <a:lvl5pPr marL="1440000" indent="-18000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FlandersArtSans-Regular" panose="00000500000000000000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454">
          <p15:clr>
            <a:srgbClr val="F26B43"/>
          </p15:clr>
        </p15:guide>
        <p15:guide id="3">
          <p15:clr>
            <a:srgbClr val="F26B43"/>
          </p15:clr>
        </p15:guide>
        <p15:guide id="4" orient="horz" pos="-1">
          <p15:clr>
            <a:srgbClr val="F26B43"/>
          </p15:clr>
        </p15:guide>
        <p15:guide id="5" pos="7680">
          <p15:clr>
            <a:srgbClr val="F26B43"/>
          </p15:clr>
        </p15:guide>
        <p15:guide id="6" orient="horz" pos="4320">
          <p15:clr>
            <a:srgbClr val="F26B43"/>
          </p15:clr>
        </p15:guide>
        <p15:guide id="7" pos="7453">
          <p15:clr>
            <a:srgbClr val="F26B43"/>
          </p15:clr>
        </p15:guide>
        <p15:guide id="8" orient="horz" pos="453">
          <p15:clr>
            <a:srgbClr val="F26B43"/>
          </p15:clr>
        </p15:guide>
        <p15:guide id="9" orient="horz" pos="3866">
          <p15:clr>
            <a:srgbClr val="F26B43"/>
          </p15:clr>
        </p15:guide>
        <p15:guide id="10" pos="7227">
          <p15:clr>
            <a:srgbClr val="F26B43"/>
          </p15:clr>
        </p15:guide>
        <p15:guide id="11" pos="226">
          <p15:clr>
            <a:srgbClr val="F26B43"/>
          </p15:clr>
        </p15:guide>
        <p15:guide id="12" pos="3840">
          <p15:clr>
            <a:srgbClr val="F26B43"/>
          </p15:clr>
        </p15:guide>
        <p15:guide id="13" orient="horz" pos="4092">
          <p15:clr>
            <a:srgbClr val="F26B43"/>
          </p15:clr>
        </p15:guide>
        <p15:guide id="14" orient="horz" pos="225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F5402CA-33B0-4A17-B35F-E81F84BC9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3438462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592" imgH="595" progId="TCLayout.ActiveDocument.1">
                  <p:embed/>
                </p:oleObj>
              </mc:Choice>
              <mc:Fallback>
                <p:oleObj name="think-cell Slide" r:id="rId39" imgW="592" imgH="59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F5402CA-33B0-4A17-B35F-E81F84BC9E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C15B9B0B-9FF8-4AB2-91EC-BFD234DA0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084262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07AD4BAC-B767-43E5-8F16-E582C148C4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592263"/>
            <a:ext cx="10515600" cy="458470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nl-NL"/>
              <a:t>Eerste niveau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CD5D5524-E479-4197-9F64-1F54DAFF60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44981"/>
            <a:ext cx="4833425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nl-BE"/>
              <a:t>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C9B68AD4-8EA5-4A62-B9A6-94440AE012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14012" y="6344982"/>
            <a:ext cx="838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 b="1">
                <a:solidFill>
                  <a:schemeClr val="tx1"/>
                </a:solidFill>
                <a:latin typeface="+mj-lt"/>
              </a:defRPr>
            </a:lvl1pPr>
          </a:lstStyle>
          <a:p>
            <a:fld id="{1EABE038-A425-4CC0-917A-1DC3ED725B2E}" type="slidenum">
              <a:rPr lang="nl-BE" smtClean="0"/>
              <a:pPr/>
              <a:t>‹nr.›</a:t>
            </a:fld>
            <a:endParaRPr lang="nl-BE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40003012-7043-4113-8641-7860C8DEC246}"/>
              </a:ext>
            </a:extLst>
          </p:cNvPr>
          <p:cNvSpPr/>
          <p:nvPr userDrawn="1"/>
        </p:nvSpPr>
        <p:spPr>
          <a:xfrm>
            <a:off x="0" y="0"/>
            <a:ext cx="219456" cy="6858000"/>
          </a:xfrm>
          <a:prstGeom prst="rect">
            <a:avLst/>
          </a:prstGeom>
          <a:solidFill>
            <a:srgbClr val="FF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267192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  <p:sldLayoutId id="2147483771" r:id="rId12"/>
    <p:sldLayoutId id="2147483772" r:id="rId13"/>
    <p:sldLayoutId id="2147483794" r:id="rId14"/>
    <p:sldLayoutId id="2147483774" r:id="rId15"/>
    <p:sldLayoutId id="2147483775" r:id="rId16"/>
    <p:sldLayoutId id="2147483776" r:id="rId17"/>
    <p:sldLayoutId id="2147483777" r:id="rId18"/>
    <p:sldLayoutId id="2147483778" r:id="rId19"/>
    <p:sldLayoutId id="2147483779" r:id="rId20"/>
    <p:sldLayoutId id="2147483780" r:id="rId21"/>
    <p:sldLayoutId id="2147483781" r:id="rId22"/>
    <p:sldLayoutId id="2147483782" r:id="rId23"/>
    <p:sldLayoutId id="2147483783" r:id="rId24"/>
    <p:sldLayoutId id="2147483784" r:id="rId25"/>
    <p:sldLayoutId id="2147483785" r:id="rId26"/>
    <p:sldLayoutId id="2147483786" r:id="rId27"/>
    <p:sldLayoutId id="2147483787" r:id="rId28"/>
    <p:sldLayoutId id="2147483789" r:id="rId29"/>
    <p:sldLayoutId id="2147483792" r:id="rId30"/>
    <p:sldLayoutId id="2147483964" r:id="rId31"/>
    <p:sldLayoutId id="2147483966" r:id="rId32"/>
    <p:sldLayoutId id="2147483967" r:id="rId33"/>
    <p:sldLayoutId id="2147483968" r:id="rId34"/>
    <p:sldLayoutId id="2147483969" r:id="rId35"/>
    <p:sldLayoutId id="2147483970" r:id="rId3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u="none" kern="1200" baseline="0">
          <a:solidFill>
            <a:schemeClr val="tx1"/>
          </a:solidFill>
          <a:uFill>
            <a:solidFill>
              <a:schemeClr val="accent1"/>
            </a:solidFill>
          </a:u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Font typeface="Arial" panose="020B0604020202020204" pitchFamily="34" charset="0"/>
        <a:buNone/>
        <a:defRPr sz="2400" u="none" kern="1200" baseline="0">
          <a:solidFill>
            <a:schemeClr val="tx1"/>
          </a:solidFill>
          <a:uFill>
            <a:solidFill>
              <a:schemeClr val="accent1"/>
            </a:solidFill>
          </a:uFill>
          <a:latin typeface="+mn-lt"/>
          <a:ea typeface="+mn-ea"/>
          <a:cs typeface="+mn-cs"/>
        </a:defRPr>
      </a:lvl1pPr>
      <a:lvl2pPr marL="360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SzPct val="100000"/>
        <a:buFont typeface="Wingdings" panose="05000000000000000000" pitchFamily="2" charset="2"/>
        <a:buChar char="§"/>
        <a:defRPr sz="2000" u="none" kern="1200" baseline="0">
          <a:solidFill>
            <a:schemeClr val="tx1"/>
          </a:solidFill>
          <a:uFill>
            <a:solidFill>
              <a:schemeClr val="accent1"/>
            </a:solidFill>
          </a:uFill>
          <a:latin typeface="+mn-lt"/>
          <a:ea typeface="+mn-ea"/>
          <a:cs typeface="+mn-cs"/>
        </a:defRPr>
      </a:lvl2pPr>
      <a:lvl3pPr marL="648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Wingdings" panose="05000000000000000000" pitchFamily="2" charset="2"/>
        <a:buChar char="§"/>
        <a:defRPr sz="1800" b="0" u="none" kern="1200" baseline="0">
          <a:solidFill>
            <a:schemeClr val="tx1"/>
          </a:solidFill>
          <a:uFill>
            <a:solidFill>
              <a:schemeClr val="accent3"/>
            </a:solidFill>
          </a:uFill>
          <a:latin typeface="+mn-lt"/>
          <a:ea typeface="+mn-ea"/>
          <a:cs typeface="+mn-cs"/>
        </a:defRPr>
      </a:lvl3pPr>
      <a:lvl4pPr marL="936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Wingdings" panose="05000000000000000000" pitchFamily="2" charset="2"/>
        <a:buChar char="§"/>
        <a:defRPr sz="1600" u="none" kern="1200" baseline="0">
          <a:solidFill>
            <a:schemeClr val="tx1"/>
          </a:solidFill>
          <a:uFill>
            <a:solidFill>
              <a:schemeClr val="accent3"/>
            </a:solidFill>
          </a:uFill>
          <a:latin typeface="+mn-lt"/>
          <a:ea typeface="+mn-ea"/>
          <a:cs typeface="+mn-cs"/>
        </a:defRPr>
      </a:lvl4pPr>
      <a:lvl5pPr marL="1224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SzPct val="100000"/>
        <a:buFont typeface="Wingdings" panose="05000000000000000000" pitchFamily="2" charset="2"/>
        <a:buChar char="§"/>
        <a:defRPr sz="1400" b="0" u="none" kern="1200" baseline="0">
          <a:solidFill>
            <a:schemeClr val="tx1"/>
          </a:solidFill>
          <a:uFill>
            <a:solidFill>
              <a:schemeClr val="accent3"/>
            </a:solidFill>
          </a:u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29">
          <p15:clr>
            <a:srgbClr val="F26B43"/>
          </p15:clr>
        </p15:guide>
        <p15:guide id="2" pos="7151">
          <p15:clr>
            <a:srgbClr val="F26B43"/>
          </p15:clr>
        </p15:guide>
        <p15:guide id="4" orient="horz" pos="3906">
          <p15:clr>
            <a:srgbClr val="F26B43"/>
          </p15:clr>
        </p15:guide>
        <p15:guide id="5" orient="horz" pos="100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1728000" y="756000"/>
            <a:ext cx="9888000" cy="11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7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4067833" y="6339600"/>
            <a:ext cx="120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FlandersArtSans-Regular" panose="00000500000000000000" pitchFamily="2" charset="0"/>
              </a:defRPr>
            </a:lvl1pPr>
          </a:lstStyle>
          <a:p>
            <a:r>
              <a:rPr lang="nl-BE"/>
              <a:t>31/01/2019</a:t>
            </a:r>
          </a:p>
        </p:txBody>
      </p:sp>
      <p:sp>
        <p:nvSpPr>
          <p:cNvPr id="8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5324524" y="6339600"/>
            <a:ext cx="25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FlandersArtSans-Regular" panose="00000500000000000000" pitchFamily="2" charset="0"/>
              </a:defRPr>
            </a:lvl1pPr>
          </a:lstStyle>
          <a:p>
            <a:r>
              <a:rPr lang="nl-BE"/>
              <a:t>Organisatiestructuur DigiTeam</a:t>
            </a:r>
          </a:p>
        </p:txBody>
      </p:sp>
      <p:sp>
        <p:nvSpPr>
          <p:cNvPr id="9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7926148" y="633960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  <a:latin typeface="FlandersArtSans-Regular" panose="00000500000000000000" pitchFamily="2" charset="0"/>
              </a:defRPr>
            </a:lvl1pPr>
          </a:lstStyle>
          <a:p>
            <a:fld id="{492AD3B4-D906-4191-84FB-4FE613E48036}" type="slidenum">
              <a:rPr lang="nl-BE" smtClean="0"/>
              <a:pPr/>
              <a:t>‹nr.›</a:t>
            </a:fld>
            <a:endParaRPr lang="nl-BE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1728000" y="1915200"/>
            <a:ext cx="9926400" cy="4352400"/>
          </a:xfrm>
          <a:prstGeom prst="rect">
            <a:avLst/>
          </a:prstGeom>
        </p:spPr>
        <p:txBody>
          <a:bodyPr vert="horz" lIns="0" tIns="0" rIns="0" bIns="45720" rtlCol="0">
            <a:noAutofit/>
          </a:bodyPr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 </a:t>
            </a:r>
            <a:endParaRPr lang="nl-BE"/>
          </a:p>
          <a:p>
            <a:pPr lvl="4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496563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3" r:id="rId1"/>
    <p:sldLayoutId id="2147483864" r:id="rId2"/>
    <p:sldLayoutId id="2147483865" r:id="rId3"/>
    <p:sldLayoutId id="2147483866" r:id="rId4"/>
    <p:sldLayoutId id="2147483867" r:id="rId5"/>
    <p:sldLayoutId id="2147483868" r:id="rId6"/>
    <p:sldLayoutId id="2147483869" r:id="rId7"/>
    <p:sldLayoutId id="2147483870" r:id="rId8"/>
    <p:sldLayoutId id="2147483871" r:id="rId9"/>
    <p:sldLayoutId id="2147483872" r:id="rId10"/>
    <p:sldLayoutId id="2147483875" r:id="rId11"/>
    <p:sldLayoutId id="2147483876" r:id="rId12"/>
    <p:sldLayoutId id="2147483877" r:id="rId13"/>
  </p:sldLayoutIdLst>
  <p:hf hdr="0"/>
  <p:txStyles>
    <p:titleStyle>
      <a:lvl1pPr algn="l" defTabSz="914400" rtl="0" eaLnBrk="1" latinLnBrk="0" hangingPunct="1">
        <a:lnSpc>
          <a:spcPts val="3800"/>
        </a:lnSpc>
        <a:spcBef>
          <a:spcPct val="0"/>
        </a:spcBef>
        <a:buNone/>
        <a:defRPr sz="3700" kern="1200">
          <a:solidFill>
            <a:schemeClr val="tx1"/>
          </a:solidFill>
          <a:latin typeface="FlandersArtSans-Bold" panose="00000800000000000000" pitchFamily="2" charset="0"/>
          <a:ea typeface="+mj-ea"/>
          <a:cs typeface="+mj-cs"/>
        </a:defRPr>
      </a:lvl1pPr>
    </p:titleStyle>
    <p:bodyStyle>
      <a:lvl1pPr marL="288000" marR="0" indent="-288000" algn="l" defTabSz="914400" rtl="0" eaLnBrk="1" fontAlgn="auto" latinLnBrk="0" hangingPunct="1">
        <a:lnSpc>
          <a:spcPct val="90000"/>
        </a:lnSpc>
        <a:spcBef>
          <a:spcPts val="300"/>
        </a:spcBef>
        <a:spcAft>
          <a:spcPts val="0"/>
        </a:spcAft>
        <a:buClrTx/>
        <a:buSzPct val="90000"/>
        <a:buFontTx/>
        <a:buBlip>
          <a:blip r:embed="rId15"/>
        </a:buBlip>
        <a:tabLst/>
        <a:defRPr sz="2200" kern="1200" spc="0" baseline="0">
          <a:solidFill>
            <a:schemeClr val="tx1"/>
          </a:solidFill>
          <a:latin typeface="FlandersArtSans-Bold" panose="00000800000000000000" pitchFamily="2" charset="0"/>
          <a:ea typeface="+mn-ea"/>
          <a:cs typeface="+mn-cs"/>
        </a:defRPr>
      </a:lvl1pPr>
      <a:lvl2pPr marL="576000" marR="0" indent="-288000" algn="l" defTabSz="914400" rtl="0" eaLnBrk="1" fontAlgn="auto" latinLnBrk="0" hangingPunct="1">
        <a:lnSpc>
          <a:spcPct val="90000"/>
        </a:lnSpc>
        <a:spcBef>
          <a:spcPts val="300"/>
        </a:spcBef>
        <a:spcAft>
          <a:spcPts val="0"/>
        </a:spcAft>
        <a:buClrTx/>
        <a:buSzPct val="75000"/>
        <a:buFontTx/>
        <a:buBlip>
          <a:blip r:embed="rId16"/>
        </a:buBlip>
        <a:tabLst/>
        <a:defRPr sz="2200" kern="1200" spc="0" baseline="0">
          <a:solidFill>
            <a:srgbClr val="9B9B9B"/>
          </a:solidFill>
          <a:latin typeface="FlandersArtSans-Regular" panose="00000500000000000000" pitchFamily="2" charset="0"/>
          <a:ea typeface="+mn-ea"/>
          <a:cs typeface="+mn-cs"/>
        </a:defRPr>
      </a:lvl2pPr>
      <a:lvl3pPr marL="864000" marR="0" indent="-288000" algn="l" defTabSz="914400" rtl="0" eaLnBrk="1" fontAlgn="auto" latinLnBrk="0" hangingPunct="1">
        <a:lnSpc>
          <a:spcPct val="90000"/>
        </a:lnSpc>
        <a:spcBef>
          <a:spcPts val="300"/>
        </a:spcBef>
        <a:spcAft>
          <a:spcPts val="0"/>
        </a:spcAft>
        <a:buClrTx/>
        <a:buSzPct val="85000"/>
        <a:buFontTx/>
        <a:buBlip>
          <a:blip r:embed="rId17"/>
        </a:buBlip>
        <a:tabLst/>
        <a:defRPr sz="2000" kern="1200" spc="0" baseline="0">
          <a:solidFill>
            <a:schemeClr val="tx1"/>
          </a:solidFill>
          <a:latin typeface="FlandersArtSans-Regular" panose="00000500000000000000" pitchFamily="2" charset="0"/>
          <a:ea typeface="+mn-ea"/>
          <a:cs typeface="+mn-cs"/>
        </a:defRPr>
      </a:lvl3pPr>
      <a:lvl4pPr marL="1152000" marR="0" indent="-288000" algn="l" defTabSz="914400" rtl="0" eaLnBrk="1" fontAlgn="auto" latinLnBrk="0" hangingPunct="1">
        <a:lnSpc>
          <a:spcPct val="90000"/>
        </a:lnSpc>
        <a:spcBef>
          <a:spcPts val="300"/>
        </a:spcBef>
        <a:spcAft>
          <a:spcPts val="0"/>
        </a:spcAft>
        <a:buClrTx/>
        <a:buSzPct val="75000"/>
        <a:buFontTx/>
        <a:buBlip>
          <a:blip r:embed="rId18"/>
        </a:buBlip>
        <a:tabLst/>
        <a:defRPr sz="2000" kern="1200" spc="0" baseline="0">
          <a:solidFill>
            <a:schemeClr val="tx1"/>
          </a:solidFill>
          <a:latin typeface="FlandersArtSans-Regular" panose="00000500000000000000" pitchFamily="2" charset="0"/>
          <a:ea typeface="+mn-ea"/>
          <a:cs typeface="+mn-cs"/>
        </a:defRPr>
      </a:lvl4pPr>
      <a:lvl5pPr marL="1440000" marR="0" indent="-288000" algn="l" defTabSz="914400" rtl="0" eaLnBrk="1" fontAlgn="auto" latinLnBrk="0" hangingPunct="1">
        <a:lnSpc>
          <a:spcPct val="90000"/>
        </a:lnSpc>
        <a:spcBef>
          <a:spcPts val="300"/>
        </a:spcBef>
        <a:spcAft>
          <a:spcPts val="0"/>
        </a:spcAft>
        <a:buClrTx/>
        <a:buSzPct val="90000"/>
        <a:buFontTx/>
        <a:buBlip>
          <a:blip r:embed="rId15"/>
        </a:buBlip>
        <a:tabLst/>
        <a:defRPr sz="2000" kern="1200" spc="0" baseline="0">
          <a:solidFill>
            <a:schemeClr val="tx1"/>
          </a:solidFill>
          <a:latin typeface="FlandersArtSans-Regular" panose="00000500000000000000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496608" y="162000"/>
            <a:ext cx="11536896" cy="11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96608" y="780288"/>
            <a:ext cx="11536896" cy="5822976"/>
          </a:xfrm>
          <a:prstGeom prst="rect">
            <a:avLst/>
          </a:prstGeom>
        </p:spPr>
        <p:txBody>
          <a:bodyPr vert="horz" lIns="0" tIns="0" rIns="0" bIns="45720" rtlCol="0">
            <a:noAutofit/>
          </a:bodyPr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 </a:t>
            </a:r>
            <a:endParaRPr lang="nl-BE"/>
          </a:p>
          <a:p>
            <a:pPr lvl="4"/>
            <a:endParaRPr lang="nl-BE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11005804" y="6603264"/>
            <a:ext cx="564760" cy="185472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  <a:latin typeface="FlandersArtSans-Regular" panose="00000500000000000000" pitchFamily="2" charset="0"/>
              </a:defRPr>
            </a:lvl1pPr>
          </a:lstStyle>
          <a:p>
            <a:r>
              <a:rPr lang="nl-BE"/>
              <a:t>31/01/2019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8484974" y="6603264"/>
            <a:ext cx="2520000" cy="1854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  <a:latin typeface="FlandersArtSans-Regular" panose="00000500000000000000" pitchFamily="2" charset="0"/>
              </a:defRPr>
            </a:lvl1pPr>
          </a:lstStyle>
          <a:p>
            <a:r>
              <a:rPr lang="nl-BE"/>
              <a:t>Organisatiestructuur DigiTeam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1570564" y="6603264"/>
            <a:ext cx="462940" cy="1854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  <a:latin typeface="FlandersArtSans-Regular" panose="00000500000000000000" pitchFamily="2" charset="0"/>
              </a:defRPr>
            </a:lvl1pPr>
          </a:lstStyle>
          <a:p>
            <a:r>
              <a:rPr lang="nl-BE"/>
              <a:t>| </a:t>
            </a:r>
            <a:fld id="{492AD3B4-D906-4191-84FB-4FE613E48036}" type="slidenum">
              <a:rPr lang="nl-BE" smtClean="0"/>
              <a:pPr/>
              <a:t>‹nr.›</a:t>
            </a:fld>
            <a:endParaRPr lang="nl-BE"/>
          </a:p>
        </p:txBody>
      </p:sp>
      <p:sp>
        <p:nvSpPr>
          <p:cNvPr id="7" name="Rechthoek 6"/>
          <p:cNvSpPr/>
          <p:nvPr/>
        </p:nvSpPr>
        <p:spPr>
          <a:xfrm>
            <a:off x="0" y="0"/>
            <a:ext cx="384000" cy="6858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1800"/>
          </a:p>
        </p:txBody>
      </p:sp>
    </p:spTree>
    <p:extLst>
      <p:ext uri="{BB962C8B-B14F-4D97-AF65-F5344CB8AC3E}">
        <p14:creationId xmlns:p14="http://schemas.microsoft.com/office/powerpoint/2010/main" val="31087908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2" r:id="rId1"/>
    <p:sldLayoutId id="2147483893" r:id="rId2"/>
    <p:sldLayoutId id="2147483894" r:id="rId3"/>
    <p:sldLayoutId id="2147483895" r:id="rId4"/>
    <p:sldLayoutId id="2147483896" r:id="rId5"/>
    <p:sldLayoutId id="2147483897" r:id="rId6"/>
    <p:sldLayoutId id="2147483898" r:id="rId7"/>
    <p:sldLayoutId id="2147483900" r:id="rId8"/>
    <p:sldLayoutId id="2147483901" r:id="rId9"/>
  </p:sldLayoutIdLst>
  <p:hf hdr="0"/>
  <p:txStyles>
    <p:titleStyle>
      <a:lvl1pPr algn="l" defTabSz="914400" rtl="0" eaLnBrk="1" latinLnBrk="0" hangingPunct="1">
        <a:lnSpc>
          <a:spcPts val="3800"/>
        </a:lnSpc>
        <a:spcBef>
          <a:spcPts val="0"/>
        </a:spcBef>
        <a:buNone/>
        <a:defRPr sz="3700" b="0" i="0" kern="1200">
          <a:solidFill>
            <a:schemeClr val="tx1"/>
          </a:solidFill>
          <a:latin typeface="FlandersArtSans-Bold" panose="00000800000000000000" pitchFamily="2" charset="0"/>
          <a:ea typeface="+mj-ea"/>
          <a:cs typeface="FlandersArtSans-Bold" panose="00000800000000000000" pitchFamily="2" charset="0"/>
        </a:defRPr>
      </a:lvl1pPr>
    </p:titleStyle>
    <p:bodyStyle>
      <a:lvl1pPr marL="288000" indent="-288000" algn="l" defTabSz="914400" rtl="0" eaLnBrk="1" latinLnBrk="0" hangingPunct="1">
        <a:lnSpc>
          <a:spcPct val="90000"/>
        </a:lnSpc>
        <a:spcBef>
          <a:spcPts val="300"/>
        </a:spcBef>
        <a:buSzPct val="90000"/>
        <a:buFontTx/>
        <a:buBlip>
          <a:blip r:embed="rId11"/>
        </a:buBlip>
        <a:defRPr sz="2200" kern="1200" spc="0">
          <a:solidFill>
            <a:schemeClr val="tx1"/>
          </a:solidFill>
          <a:latin typeface="FlandersArtSans-Bold" panose="00000800000000000000" pitchFamily="2" charset="0"/>
          <a:ea typeface="+mn-ea"/>
          <a:cs typeface="+mn-cs"/>
        </a:defRPr>
      </a:lvl1pPr>
      <a:lvl2pPr marL="576000" indent="-288000" algn="l" defTabSz="914400" rtl="0" eaLnBrk="1" latinLnBrk="0" hangingPunct="1">
        <a:lnSpc>
          <a:spcPct val="90000"/>
        </a:lnSpc>
        <a:spcBef>
          <a:spcPts val="300"/>
        </a:spcBef>
        <a:buSzPct val="70000"/>
        <a:buFontTx/>
        <a:buBlip>
          <a:blip r:embed="rId12"/>
        </a:buBlip>
        <a:defRPr sz="2200" kern="1200" spc="0">
          <a:solidFill>
            <a:schemeClr val="bg1">
              <a:lumMod val="50000"/>
            </a:schemeClr>
          </a:solidFill>
          <a:latin typeface="FlandersArtSans-Regular" panose="00000500000000000000" pitchFamily="2" charset="0"/>
          <a:ea typeface="+mn-ea"/>
          <a:cs typeface="+mn-cs"/>
        </a:defRPr>
      </a:lvl2pPr>
      <a:lvl3pPr marL="864000" indent="-288000" algn="l" defTabSz="914400" rtl="0" eaLnBrk="1" latinLnBrk="0" hangingPunct="1">
        <a:lnSpc>
          <a:spcPct val="90000"/>
        </a:lnSpc>
        <a:spcBef>
          <a:spcPts val="300"/>
        </a:spcBef>
        <a:buSzPct val="90000"/>
        <a:buFontTx/>
        <a:buBlip>
          <a:blip r:embed="rId13"/>
        </a:buBlip>
        <a:defRPr sz="2000" kern="1200" spc="0">
          <a:solidFill>
            <a:schemeClr val="tx1"/>
          </a:solidFill>
          <a:latin typeface="FlandersArtSans-Regular" panose="00000500000000000000" pitchFamily="2" charset="0"/>
          <a:ea typeface="+mn-ea"/>
          <a:cs typeface="+mn-cs"/>
        </a:defRPr>
      </a:lvl3pPr>
      <a:lvl4pPr marL="1152000" indent="-288000" algn="l" defTabSz="914400" rtl="0" eaLnBrk="1" latinLnBrk="0" hangingPunct="1">
        <a:lnSpc>
          <a:spcPct val="90000"/>
        </a:lnSpc>
        <a:spcBef>
          <a:spcPts val="300"/>
        </a:spcBef>
        <a:buSzPct val="75000"/>
        <a:buFontTx/>
        <a:buBlip>
          <a:blip r:embed="rId14"/>
        </a:buBlip>
        <a:defRPr sz="2000" kern="1200" spc="0">
          <a:solidFill>
            <a:schemeClr val="tx1"/>
          </a:solidFill>
          <a:latin typeface="FlandersArtSans-Regular" panose="00000500000000000000" pitchFamily="2" charset="0"/>
          <a:ea typeface="+mn-ea"/>
          <a:cs typeface="+mn-cs"/>
        </a:defRPr>
      </a:lvl4pPr>
      <a:lvl5pPr marL="1440000" indent="-288000" algn="l" defTabSz="914400" rtl="0" eaLnBrk="1" latinLnBrk="0" hangingPunct="1">
        <a:lnSpc>
          <a:spcPct val="90000"/>
        </a:lnSpc>
        <a:spcBef>
          <a:spcPts val="300"/>
        </a:spcBef>
        <a:buSzPct val="90000"/>
        <a:buFontTx/>
        <a:buBlip>
          <a:blip r:embed="rId11"/>
        </a:buBlip>
        <a:defRPr sz="2000" kern="1200" spc="0" baseline="0">
          <a:solidFill>
            <a:schemeClr val="tx1"/>
          </a:solidFill>
          <a:latin typeface="FlandersArtSans-Regular" panose="00000500000000000000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C15B9B0B-9FF8-4AB2-91EC-BFD234DA0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084262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07AD4BAC-B767-43E5-8F16-E582C148C4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592263"/>
            <a:ext cx="10515600" cy="458470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nl-NL"/>
              <a:t>Eerste niveau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CD5D5524-E479-4197-9F64-1F54DAFF60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44981"/>
            <a:ext cx="4833425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nl-BE"/>
              <a:t>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C9B68AD4-8EA5-4A62-B9A6-94440AE012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14012" y="6344982"/>
            <a:ext cx="838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 b="1">
                <a:solidFill>
                  <a:schemeClr val="tx1"/>
                </a:solidFill>
                <a:latin typeface="+mj-lt"/>
              </a:defRPr>
            </a:lvl1pPr>
          </a:lstStyle>
          <a:p>
            <a:fld id="{1EABE038-A425-4CC0-917A-1DC3ED725B2E}" type="slidenum">
              <a:rPr lang="nl-BE" smtClean="0"/>
              <a:pPr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813016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4" r:id="rId1"/>
    <p:sldLayoutId id="2147483905" r:id="rId2"/>
    <p:sldLayoutId id="2147483906" r:id="rId3"/>
    <p:sldLayoutId id="2147483907" r:id="rId4"/>
    <p:sldLayoutId id="2147483908" r:id="rId5"/>
    <p:sldLayoutId id="2147483909" r:id="rId6"/>
    <p:sldLayoutId id="2147483910" r:id="rId7"/>
    <p:sldLayoutId id="2147483911" r:id="rId8"/>
    <p:sldLayoutId id="2147483912" r:id="rId9"/>
    <p:sldLayoutId id="2147483913" r:id="rId10"/>
    <p:sldLayoutId id="2147483914" r:id="rId11"/>
    <p:sldLayoutId id="2147483915" r:id="rId12"/>
    <p:sldLayoutId id="2147483916" r:id="rId13"/>
    <p:sldLayoutId id="2147483917" r:id="rId14"/>
    <p:sldLayoutId id="2147483918" r:id="rId15"/>
    <p:sldLayoutId id="2147483919" r:id="rId16"/>
    <p:sldLayoutId id="2147483920" r:id="rId17"/>
    <p:sldLayoutId id="2147483921" r:id="rId18"/>
    <p:sldLayoutId id="2147483922" r:id="rId19"/>
    <p:sldLayoutId id="2147483923" r:id="rId20"/>
    <p:sldLayoutId id="2147483924" r:id="rId21"/>
    <p:sldLayoutId id="2147483925" r:id="rId22"/>
    <p:sldLayoutId id="2147483926" r:id="rId23"/>
    <p:sldLayoutId id="2147483927" r:id="rId24"/>
    <p:sldLayoutId id="2147483928" r:id="rId25"/>
    <p:sldLayoutId id="2147483929" r:id="rId26"/>
    <p:sldLayoutId id="2147483930" r:id="rId27"/>
    <p:sldLayoutId id="2147483931" r:id="rId28"/>
    <p:sldLayoutId id="2147483932" r:id="rId2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u="none" kern="1200" baseline="0">
          <a:solidFill>
            <a:schemeClr val="tx1"/>
          </a:solidFill>
          <a:uFill>
            <a:solidFill>
              <a:schemeClr val="accent1"/>
            </a:solidFill>
          </a:u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Font typeface="Arial" panose="020B0604020202020204" pitchFamily="34" charset="0"/>
        <a:buNone/>
        <a:defRPr sz="2400" u="none" kern="1200" baseline="0">
          <a:solidFill>
            <a:schemeClr val="tx1"/>
          </a:solidFill>
          <a:uFill>
            <a:solidFill>
              <a:schemeClr val="accent1"/>
            </a:solidFill>
          </a:uFill>
          <a:latin typeface="+mn-lt"/>
          <a:ea typeface="+mn-ea"/>
          <a:cs typeface="+mn-cs"/>
        </a:defRPr>
      </a:lvl1pPr>
      <a:lvl2pPr marL="360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SzPct val="100000"/>
        <a:buFont typeface="Wingdings" panose="05000000000000000000" pitchFamily="2" charset="2"/>
        <a:buChar char="§"/>
        <a:defRPr sz="2000" u="none" kern="1200" baseline="0">
          <a:solidFill>
            <a:schemeClr val="tx1"/>
          </a:solidFill>
          <a:uFill>
            <a:solidFill>
              <a:schemeClr val="accent1"/>
            </a:solidFill>
          </a:uFill>
          <a:latin typeface="+mn-lt"/>
          <a:ea typeface="+mn-ea"/>
          <a:cs typeface="+mn-cs"/>
        </a:defRPr>
      </a:lvl2pPr>
      <a:lvl3pPr marL="648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Wingdings" panose="05000000000000000000" pitchFamily="2" charset="2"/>
        <a:buChar char="§"/>
        <a:defRPr sz="1800" b="0" u="none" kern="1200" baseline="0">
          <a:solidFill>
            <a:schemeClr val="tx1"/>
          </a:solidFill>
          <a:uFill>
            <a:solidFill>
              <a:schemeClr val="accent3"/>
            </a:solidFill>
          </a:uFill>
          <a:latin typeface="+mn-lt"/>
          <a:ea typeface="+mn-ea"/>
          <a:cs typeface="+mn-cs"/>
        </a:defRPr>
      </a:lvl3pPr>
      <a:lvl4pPr marL="936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Wingdings" panose="05000000000000000000" pitchFamily="2" charset="2"/>
        <a:buChar char="§"/>
        <a:defRPr sz="1600" u="none" kern="1200" baseline="0">
          <a:solidFill>
            <a:schemeClr val="tx1"/>
          </a:solidFill>
          <a:uFill>
            <a:solidFill>
              <a:schemeClr val="accent3"/>
            </a:solidFill>
          </a:uFill>
          <a:latin typeface="+mn-lt"/>
          <a:ea typeface="+mn-ea"/>
          <a:cs typeface="+mn-cs"/>
        </a:defRPr>
      </a:lvl4pPr>
      <a:lvl5pPr marL="1224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SzPct val="100000"/>
        <a:buFont typeface="Wingdings" panose="05000000000000000000" pitchFamily="2" charset="2"/>
        <a:buChar char="§"/>
        <a:defRPr sz="1400" b="0" u="none" kern="1200" baseline="0">
          <a:solidFill>
            <a:schemeClr val="tx1"/>
          </a:solidFill>
          <a:uFill>
            <a:solidFill>
              <a:schemeClr val="accent3"/>
            </a:solidFill>
          </a:u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29">
          <p15:clr>
            <a:srgbClr val="F26B43"/>
          </p15:clr>
        </p15:guide>
        <p15:guide id="2" pos="7151">
          <p15:clr>
            <a:srgbClr val="F26B43"/>
          </p15:clr>
        </p15:guide>
        <p15:guide id="4" orient="horz" pos="3906">
          <p15:clr>
            <a:srgbClr val="F26B43"/>
          </p15:clr>
        </p15:guide>
        <p15:guide id="5" orient="horz" pos="1003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87A7F4C2-74F3-4E24-8084-D1F621D104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725" y="719137"/>
            <a:ext cx="10753200" cy="1080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41571051-88ED-4924-8254-9771FA3184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0724" y="2159999"/>
            <a:ext cx="10753200" cy="3600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C70644A3-858C-43F7-9A1A-3528A4847B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137275"/>
            <a:ext cx="4114800" cy="39650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07BDB760-F448-4F55-9667-802CEFE6F2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8076" y="6137275"/>
            <a:ext cx="2743200" cy="39650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54D495-7224-4CA1-A1F2-96D892C452AE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7940945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38" r:id="rId2"/>
    <p:sldLayoutId id="2147483939" r:id="rId3"/>
    <p:sldLayoutId id="2147483940" r:id="rId4"/>
    <p:sldLayoutId id="2147483941" r:id="rId5"/>
    <p:sldLayoutId id="2147483942" r:id="rId6"/>
    <p:sldLayoutId id="2147483943" r:id="rId7"/>
    <p:sldLayoutId id="2147483944" r:id="rId8"/>
    <p:sldLayoutId id="2147483945" r:id="rId9"/>
    <p:sldLayoutId id="2147483946" r:id="rId10"/>
    <p:sldLayoutId id="2147483947" r:id="rId11"/>
    <p:sldLayoutId id="2147483948" r:id="rId12"/>
    <p:sldLayoutId id="2147483949" r:id="rId13"/>
    <p:sldLayoutId id="2147483950" r:id="rId14"/>
    <p:sldLayoutId id="2147483951" r:id="rId15"/>
    <p:sldLayoutId id="2147483952" r:id="rId16"/>
    <p:sldLayoutId id="2147483953" r:id="rId17"/>
    <p:sldLayoutId id="2147483954" r:id="rId18"/>
    <p:sldLayoutId id="2147483955" r:id="rId19"/>
    <p:sldLayoutId id="2147483956" r:id="rId20"/>
    <p:sldLayoutId id="2147483957" r:id="rId21"/>
    <p:sldLayoutId id="2147483958" r:id="rId22"/>
    <p:sldLayoutId id="2147483959" r:id="rId23"/>
    <p:sldLayoutId id="2147483960" r:id="rId24"/>
    <p:sldLayoutId id="2147483961" r:id="rId25"/>
    <p:sldLayoutId id="2147483962" r:id="rId26"/>
    <p:sldLayoutId id="2147483963" r:id="rId27"/>
    <p:sldLayoutId id="2147483965" r:id="rId2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5000" kern="1200">
          <a:solidFill>
            <a:schemeClr val="tx1"/>
          </a:solidFill>
          <a:latin typeface="FlandersArtSans-Medium" panose="00000600000000000000" pitchFamily="2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FlandersArtSans-Regular" panose="00000500000000000000" pitchFamily="2" charset="0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20000"/>
        </a:lnSpc>
        <a:spcBef>
          <a:spcPts val="0"/>
        </a:spcBef>
        <a:buSzPct val="9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FlandersArtSans-Regular" panose="00000500000000000000" pitchFamily="2" charset="0"/>
          <a:ea typeface="+mn-ea"/>
          <a:cs typeface="+mn-cs"/>
        </a:defRPr>
      </a:lvl2pPr>
      <a:lvl3pPr marL="720000" indent="-180000" algn="l" defTabSz="914400" rtl="0" eaLnBrk="1" latinLnBrk="0" hangingPunct="1">
        <a:lnSpc>
          <a:spcPct val="120000"/>
        </a:lnSpc>
        <a:spcBef>
          <a:spcPts val="0"/>
        </a:spcBef>
        <a:buSzPct val="80000"/>
        <a:buFont typeface="FlandersArtSans-Regular" panose="00000500000000000000" pitchFamily="2" charset="0"/>
        <a:buChar char="°"/>
        <a:defRPr sz="1700" kern="1200">
          <a:solidFill>
            <a:schemeClr val="tx1"/>
          </a:solidFill>
          <a:latin typeface="FlandersArtSans-Regular" panose="00000500000000000000" pitchFamily="2" charset="0"/>
          <a:ea typeface="+mn-ea"/>
          <a:cs typeface="+mn-cs"/>
        </a:defRPr>
      </a:lvl3pPr>
      <a:lvl4pPr marL="1080000" indent="-18000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FlandersArtSans-Regular" panose="00000500000000000000" pitchFamily="2" charset="0"/>
          <a:ea typeface="+mn-ea"/>
          <a:cs typeface="+mn-cs"/>
        </a:defRPr>
      </a:lvl4pPr>
      <a:lvl5pPr marL="1440000" indent="-18000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FlandersArtSans-Regular" panose="00000500000000000000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454">
          <p15:clr>
            <a:srgbClr val="F26B43"/>
          </p15:clr>
        </p15:guide>
        <p15:guide id="3">
          <p15:clr>
            <a:srgbClr val="F26B43"/>
          </p15:clr>
        </p15:guide>
        <p15:guide id="4" orient="horz" pos="-1">
          <p15:clr>
            <a:srgbClr val="F26B43"/>
          </p15:clr>
        </p15:guide>
        <p15:guide id="5" pos="7680">
          <p15:clr>
            <a:srgbClr val="F26B43"/>
          </p15:clr>
        </p15:guide>
        <p15:guide id="6" orient="horz" pos="4320">
          <p15:clr>
            <a:srgbClr val="F26B43"/>
          </p15:clr>
        </p15:guide>
        <p15:guide id="7" pos="7453">
          <p15:clr>
            <a:srgbClr val="F26B43"/>
          </p15:clr>
        </p15:guide>
        <p15:guide id="8" orient="horz" pos="453">
          <p15:clr>
            <a:srgbClr val="F26B43"/>
          </p15:clr>
        </p15:guide>
        <p15:guide id="9" orient="horz" pos="3866">
          <p15:clr>
            <a:srgbClr val="F26B43"/>
          </p15:clr>
        </p15:guide>
        <p15:guide id="10" pos="7227">
          <p15:clr>
            <a:srgbClr val="F26B43"/>
          </p15:clr>
        </p15:guide>
        <p15:guide id="11" pos="226">
          <p15:clr>
            <a:srgbClr val="F26B43"/>
          </p15:clr>
        </p15:guide>
        <p15:guide id="12" pos="3840">
          <p15:clr>
            <a:srgbClr val="F26B43"/>
          </p15:clr>
        </p15:guide>
        <p15:guide id="13" orient="horz" pos="4092">
          <p15:clr>
            <a:srgbClr val="F26B43"/>
          </p15:clr>
        </p15:guide>
        <p15:guide id="14" orient="horz" pos="2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png"/><Relationship Id="rId3" Type="http://schemas.openxmlformats.org/officeDocument/2006/relationships/image" Target="../media/image89.png"/><Relationship Id="rId7" Type="http://schemas.openxmlformats.org/officeDocument/2006/relationships/image" Target="../media/image93.png"/><Relationship Id="rId2" Type="http://schemas.openxmlformats.org/officeDocument/2006/relationships/image" Target="../media/image88.svg"/><Relationship Id="rId1" Type="http://schemas.openxmlformats.org/officeDocument/2006/relationships/slideLayout" Target="../slideLayouts/slideLayout82.xml"/><Relationship Id="rId6" Type="http://schemas.openxmlformats.org/officeDocument/2006/relationships/image" Target="../media/image92.svg"/><Relationship Id="rId5" Type="http://schemas.openxmlformats.org/officeDocument/2006/relationships/image" Target="../media/image91.jpeg"/><Relationship Id="rId4" Type="http://schemas.openxmlformats.org/officeDocument/2006/relationships/image" Target="../media/image90.png"/><Relationship Id="rId9" Type="http://schemas.openxmlformats.org/officeDocument/2006/relationships/image" Target="../media/image9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sv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5.xml"/><Relationship Id="rId6" Type="http://schemas.openxmlformats.org/officeDocument/2006/relationships/image" Target="../media/image99.svg"/><Relationship Id="rId5" Type="http://schemas.openxmlformats.org/officeDocument/2006/relationships/image" Target="../media/image98.svg"/><Relationship Id="rId4" Type="http://schemas.openxmlformats.org/officeDocument/2006/relationships/image" Target="../media/image97.sv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svg"/><Relationship Id="rId1" Type="http://schemas.openxmlformats.org/officeDocument/2006/relationships/slideLayout" Target="../slideLayouts/slideLayout8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svg"/><Relationship Id="rId1" Type="http://schemas.openxmlformats.org/officeDocument/2006/relationships/slideLayout" Target="../slideLayouts/slideLayout8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8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8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svg"/><Relationship Id="rId1" Type="http://schemas.openxmlformats.org/officeDocument/2006/relationships/slideLayout" Target="../slideLayouts/slideLayout8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8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svg"/><Relationship Id="rId1" Type="http://schemas.openxmlformats.org/officeDocument/2006/relationships/slideLayout" Target="../slideLayouts/slideLayout8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6.xml"/><Relationship Id="rId5" Type="http://schemas.openxmlformats.org/officeDocument/2006/relationships/image" Target="../media/image6.svg"/><Relationship Id="rId4" Type="http://schemas.openxmlformats.org/officeDocument/2006/relationships/image" Target="../media/image69.sv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8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8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8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4.xml"/><Relationship Id="rId5" Type="http://schemas.openxmlformats.org/officeDocument/2006/relationships/hyperlink" Target="mailto:daan.zwaenepoel@vlaanderen.be" TargetMode="External"/><Relationship Id="rId4" Type="http://schemas.openxmlformats.org/officeDocument/2006/relationships/hyperlink" Target="mailto:stefanie.kerkhof@vlaanderen.be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emf"/><Relationship Id="rId13" Type="http://schemas.openxmlformats.org/officeDocument/2006/relationships/image" Target="../media/image79.svg"/><Relationship Id="rId3" Type="http://schemas.openxmlformats.org/officeDocument/2006/relationships/image" Target="../media/image70.svg"/><Relationship Id="rId7" Type="http://schemas.openxmlformats.org/officeDocument/2006/relationships/image" Target="../media/image74.svg"/><Relationship Id="rId12" Type="http://schemas.openxmlformats.org/officeDocument/2006/relationships/image" Target="../media/image78.sv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82.svg"/><Relationship Id="rId1" Type="http://schemas.openxmlformats.org/officeDocument/2006/relationships/slideLayout" Target="../slideLayouts/slideLayout82.xml"/><Relationship Id="rId6" Type="http://schemas.openxmlformats.org/officeDocument/2006/relationships/image" Target="../media/image73.svg"/><Relationship Id="rId11" Type="http://schemas.openxmlformats.org/officeDocument/2006/relationships/image" Target="../media/image77.svg"/><Relationship Id="rId5" Type="http://schemas.openxmlformats.org/officeDocument/2006/relationships/image" Target="../media/image72.svg"/><Relationship Id="rId15" Type="http://schemas.openxmlformats.org/officeDocument/2006/relationships/image" Target="../media/image81.svg"/><Relationship Id="rId10" Type="http://schemas.openxmlformats.org/officeDocument/2006/relationships/image" Target="../media/image76.svg"/><Relationship Id="rId4" Type="http://schemas.openxmlformats.org/officeDocument/2006/relationships/image" Target="../media/image71.svg"/><Relationship Id="rId9" Type="http://schemas.openxmlformats.org/officeDocument/2006/relationships/image" Target="../media/image75.svg"/><Relationship Id="rId14" Type="http://schemas.openxmlformats.org/officeDocument/2006/relationships/image" Target="../media/image80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sv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2.xml"/><Relationship Id="rId5" Type="http://schemas.openxmlformats.org/officeDocument/2006/relationships/hyperlink" Target="https://lokaalbeslist.vlaanderen.be/" TargetMode="External"/><Relationship Id="rId4" Type="http://schemas.openxmlformats.org/officeDocument/2006/relationships/image" Target="../media/image8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sv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2.xml"/><Relationship Id="rId5" Type="http://schemas.openxmlformats.org/officeDocument/2006/relationships/image" Target="../media/image86.png"/><Relationship Id="rId4" Type="http://schemas.openxmlformats.org/officeDocument/2006/relationships/hyperlink" Target="https://politiek.vlaanderen/?municipality=Lier&amp;locLabel=Lier" TargetMode="Externa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4.xml"/><Relationship Id="rId4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EC33FC4C-77A3-4B50-860F-028036C491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ABE038-A425-4CC0-917A-1DC3ED725B2E}" type="slidenum">
              <a:rPr kumimoji="0" lang="nl-NL" sz="1200" b="1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Calibri"/>
                <a:ea typeface="+mj-ea"/>
                <a:cs typeface="+mj-cs"/>
                <a:sym typeface="Helvetica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nl-NL" sz="1200" b="1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Calibri"/>
              <a:ea typeface="+mj-ea"/>
              <a:cs typeface="+mj-cs"/>
              <a:sym typeface="Helvetica"/>
            </a:endParaRPr>
          </a:p>
        </p:txBody>
      </p:sp>
      <p:sp>
        <p:nvSpPr>
          <p:cNvPr id="3" name="Tijdelijke aanduiding voor afbeelding 2">
            <a:extLst>
              <a:ext uri="{FF2B5EF4-FFF2-40B4-BE49-F238E27FC236}">
                <a16:creationId xmlns:a16="http://schemas.microsoft.com/office/drawing/2014/main" id="{4DBEA7AF-E59F-44D4-9604-96641BD1E50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25B9BEE-E277-4756-BF49-4876A826CF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9" y="1564105"/>
            <a:ext cx="4294919" cy="1777599"/>
          </a:xfrm>
        </p:spPr>
        <p:txBody>
          <a:bodyPr>
            <a:normAutofit/>
          </a:bodyPr>
          <a:lstStyle/>
          <a:p>
            <a:r>
              <a:rPr lang="nl-NL" sz="4000" b="0" dirty="0">
                <a:latin typeface="FlandersArtSans-Medium" panose="00000600000000000000" pitchFamily="2" charset="0"/>
              </a:rPr>
              <a:t>LBLOD</a:t>
            </a: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A38892DD-9A9F-4CEC-BD7F-BFC79B7684C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r>
              <a:rPr lang="nl-NL" sz="2000" dirty="0">
                <a:latin typeface="FlandersArtSans-Regular" panose="00000500000000000000" pitchFamily="2" charset="0"/>
              </a:rPr>
              <a:t>Daan Zwaenepoel</a:t>
            </a:r>
          </a:p>
          <a:p>
            <a:r>
              <a:rPr lang="nl-NL" sz="2000" dirty="0">
                <a:latin typeface="FlandersArtSans-Regular" panose="00000500000000000000" pitchFamily="2" charset="0"/>
              </a:rPr>
              <a:t>20/04/2026</a:t>
            </a:r>
          </a:p>
          <a:p>
            <a:endParaRPr lang="nl-NL" sz="1400" dirty="0">
              <a:solidFill>
                <a:srgbClr val="FF0000"/>
              </a:solidFill>
              <a:latin typeface="FlandersArtSans-Regular" panose="00000500000000000000" pitchFamily="2" charset="0"/>
            </a:endParaRPr>
          </a:p>
          <a:p>
            <a:endParaRPr lang="nl-NL" sz="1400" dirty="0">
              <a:latin typeface="FlandersArtSans-Regular" panose="00000500000000000000" pitchFamily="2" charset="0"/>
            </a:endParaRPr>
          </a:p>
        </p:txBody>
      </p:sp>
      <p:pic>
        <p:nvPicPr>
          <p:cNvPr id="6" name="Tijdelijke aanduiding voor afbeelding 8">
            <a:extLst>
              <a:ext uri="{FF2B5EF4-FFF2-40B4-BE49-F238E27FC236}">
                <a16:creationId xmlns:a16="http://schemas.microsoft.com/office/drawing/2014/main" id="{0AA6A853-94B4-4F16-969A-2FED5FC415D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72" r="21672"/>
          <a:stretch>
            <a:fillRect/>
          </a:stretch>
        </p:blipFill>
        <p:spPr>
          <a:xfrm>
            <a:off x="5631591" y="0"/>
            <a:ext cx="6577032" cy="6858000"/>
          </a:xfrm>
          <a:custGeom>
            <a:avLst/>
            <a:gdLst>
              <a:gd name="connsiteX0" fmla="*/ 0 w 6308480"/>
              <a:gd name="connsiteY0" fmla="*/ 0 h 6857762"/>
              <a:gd name="connsiteX1" fmla="*/ 6300924 w 6308480"/>
              <a:gd name="connsiteY1" fmla="*/ 2727 h 6857762"/>
              <a:gd name="connsiteX2" fmla="*/ 6308480 w 6308480"/>
              <a:gd name="connsiteY2" fmla="*/ 6857762 h 6857762"/>
              <a:gd name="connsiteX3" fmla="*/ 2354102 w 6308480"/>
              <a:gd name="connsiteY3" fmla="*/ 6857762 h 685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08480" h="6857762">
                <a:moveTo>
                  <a:pt x="0" y="0"/>
                </a:moveTo>
                <a:lnTo>
                  <a:pt x="6300924" y="2727"/>
                </a:lnTo>
                <a:cubicBezTo>
                  <a:pt x="6303442" y="2283102"/>
                  <a:pt x="6305962" y="4577387"/>
                  <a:pt x="6308480" y="6857762"/>
                </a:cubicBezTo>
                <a:lnTo>
                  <a:pt x="2354102" y="6857762"/>
                </a:lnTo>
                <a:close/>
              </a:path>
            </a:pathLst>
          </a:custGeom>
          <a:noFill/>
        </p:spPr>
      </p:pic>
    </p:spTree>
    <p:extLst>
      <p:ext uri="{BB962C8B-B14F-4D97-AF65-F5344CB8AC3E}">
        <p14:creationId xmlns:p14="http://schemas.microsoft.com/office/powerpoint/2010/main" val="3911318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44F83B4B-F367-8197-5905-8471A116AE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725" y="1713968"/>
            <a:ext cx="5870313" cy="5004676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nl-NL" sz="2400" dirty="0">
                <a:latin typeface="FlandersArtSans-Regular"/>
              </a:rPr>
              <a:t>Agentschap Binnenlands Bestuur </a:t>
            </a:r>
          </a:p>
          <a:p>
            <a:r>
              <a:rPr lang="nl-NL" sz="2400" dirty="0">
                <a:latin typeface="FlandersArtSans-Regular"/>
              </a:rPr>
              <a:t>City of </a:t>
            </a:r>
            <a:r>
              <a:rPr lang="nl-NL" sz="2400" dirty="0" err="1">
                <a:latin typeface="FlandersArtSans-Regular"/>
              </a:rPr>
              <a:t>Ghent</a:t>
            </a:r>
            <a:endParaRPr lang="en-US" sz="2400" dirty="0">
              <a:latin typeface="FlandersArtSans-Regular"/>
            </a:endParaRPr>
          </a:p>
          <a:p>
            <a:r>
              <a:rPr lang="nl-NL" sz="2400" dirty="0">
                <a:latin typeface="FlandersArtSans-Regular"/>
              </a:rPr>
              <a:t>City of Freiburg</a:t>
            </a:r>
            <a:endParaRPr lang="en-US" sz="2400" dirty="0">
              <a:latin typeface="FlandersArtSans-Regular"/>
            </a:endParaRPr>
          </a:p>
          <a:p>
            <a:r>
              <a:rPr lang="nl-NL" sz="2400" dirty="0">
                <a:latin typeface="FlandersArtSans-Regular"/>
              </a:rPr>
              <a:t>City of Bamberg</a:t>
            </a:r>
            <a:endParaRPr lang="en-US" sz="2400" dirty="0">
              <a:latin typeface="FlandersArtSans-Regular"/>
            </a:endParaRPr>
          </a:p>
          <a:p>
            <a:r>
              <a:rPr lang="nl-NL" sz="2400" dirty="0">
                <a:latin typeface="FlandersArtSans-Regular"/>
                <a:ea typeface="+mn-lt"/>
                <a:cs typeface="+mn-lt"/>
              </a:rPr>
              <a:t>Urban Software </a:t>
            </a:r>
            <a:r>
              <a:rPr lang="nl-NL" sz="2400" dirty="0" err="1">
                <a:latin typeface="FlandersArtSans-Regular"/>
                <a:ea typeface="+mn-lt"/>
                <a:cs typeface="+mn-lt"/>
              </a:rPr>
              <a:t>Institute</a:t>
            </a:r>
            <a:endParaRPr lang="nl-NL" sz="2400" dirty="0">
              <a:latin typeface="FlandersArtSans-Regular"/>
            </a:endParaRPr>
          </a:p>
          <a:p>
            <a:r>
              <a:rPr lang="nl-NL" sz="2400" dirty="0">
                <a:latin typeface="FlandersArtSans-Regular"/>
                <a:ea typeface="+mn-lt"/>
                <a:cs typeface="+mn-lt"/>
              </a:rPr>
              <a:t>University of </a:t>
            </a:r>
            <a:r>
              <a:rPr lang="nl-NL" sz="2400" dirty="0" err="1">
                <a:latin typeface="FlandersArtSans-Regular"/>
                <a:ea typeface="+mn-lt"/>
                <a:cs typeface="+mn-lt"/>
              </a:rPr>
              <a:t>Applied</a:t>
            </a:r>
            <a:r>
              <a:rPr lang="nl-NL" sz="2400" dirty="0">
                <a:latin typeface="FlandersArtSans-Regular"/>
                <a:ea typeface="+mn-lt"/>
                <a:cs typeface="+mn-lt"/>
              </a:rPr>
              <a:t> Sciences </a:t>
            </a:r>
            <a:r>
              <a:rPr lang="nl-NL" sz="2400" dirty="0" err="1">
                <a:latin typeface="FlandersArtSans-Regular"/>
                <a:ea typeface="+mn-lt"/>
                <a:cs typeface="+mn-lt"/>
              </a:rPr>
              <a:t>Kehl</a:t>
            </a:r>
            <a:endParaRPr lang="nl-NL" sz="2400" dirty="0">
              <a:latin typeface="FlandersArtSans-Regular"/>
            </a:endParaRPr>
          </a:p>
          <a:p>
            <a:r>
              <a:rPr lang="nl-NL" sz="2400" dirty="0">
                <a:latin typeface="FlandersArtSans-Regular"/>
              </a:rPr>
              <a:t>University of Jena</a:t>
            </a:r>
          </a:p>
          <a:p>
            <a:endParaRPr lang="nl-NL" dirty="0">
              <a:latin typeface="FlandersArtSans-Regular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D21564E-49C1-005A-5CF2-703BF7B7FA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>
                <a:latin typeface="FlandersArtSans-Medium"/>
              </a:rPr>
              <a:t>Partners</a:t>
            </a:r>
          </a:p>
        </p:txBody>
      </p:sp>
      <p:grpSp>
        <p:nvGrpSpPr>
          <p:cNvPr id="7" name="Groep 6">
            <a:extLst>
              <a:ext uri="{FF2B5EF4-FFF2-40B4-BE49-F238E27FC236}">
                <a16:creationId xmlns:a16="http://schemas.microsoft.com/office/drawing/2014/main" id="{38185416-ECB1-31D6-11B8-FAE9CA7A3866}"/>
              </a:ext>
            </a:extLst>
          </p:cNvPr>
          <p:cNvGrpSpPr/>
          <p:nvPr/>
        </p:nvGrpSpPr>
        <p:grpSpPr>
          <a:xfrm>
            <a:off x="5880001" y="902415"/>
            <a:ext cx="6408173" cy="6359012"/>
            <a:chOff x="5880001" y="902415"/>
            <a:chExt cx="6408173" cy="6359012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A6066637-9404-387C-6CDD-7867855B0194}"/>
                </a:ext>
              </a:extLst>
            </p:cNvPr>
            <p:cNvGrpSpPr/>
            <p:nvPr/>
          </p:nvGrpSpPr>
          <p:grpSpPr>
            <a:xfrm>
              <a:off x="5880001" y="902415"/>
              <a:ext cx="6408173" cy="6359012"/>
              <a:chOff x="5880001" y="902415"/>
              <a:chExt cx="6408173" cy="6359012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14A90643-3FFD-9E0F-5999-51B78E91C90B}"/>
                  </a:ext>
                </a:extLst>
              </p:cNvPr>
              <p:cNvSpPr/>
              <p:nvPr/>
            </p:nvSpPr>
            <p:spPr>
              <a:xfrm>
                <a:off x="11329455" y="4217200"/>
                <a:ext cx="255667" cy="994263"/>
              </a:xfrm>
              <a:prstGeom prst="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0B0004020202020204"/>
                  <a:ea typeface="+mn-ea"/>
                  <a:cs typeface="+mn-cs"/>
                </a:endParaRP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8EE657DC-A963-F34B-36D7-D675A6DDCFC3}"/>
                  </a:ext>
                </a:extLst>
              </p:cNvPr>
              <p:cNvSpPr/>
              <p:nvPr/>
            </p:nvSpPr>
            <p:spPr>
              <a:xfrm rot="17760000">
                <a:off x="10322065" y="5005029"/>
                <a:ext cx="255667" cy="994263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0B0004020202020204"/>
                  <a:ea typeface="+mn-ea"/>
                  <a:cs typeface="+mn-cs"/>
                </a:endParaRPr>
              </a:p>
            </p:txBody>
          </p: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BABCB046-D335-F0EC-8D11-916619C860F2}"/>
                  </a:ext>
                </a:extLst>
              </p:cNvPr>
              <p:cNvGrpSpPr/>
              <p:nvPr/>
            </p:nvGrpSpPr>
            <p:grpSpPr>
              <a:xfrm>
                <a:off x="5880001" y="902415"/>
                <a:ext cx="6408173" cy="6359012"/>
                <a:chOff x="5880001" y="902415"/>
                <a:chExt cx="6408173" cy="6359012"/>
              </a:xfrm>
            </p:grpSpPr>
            <p:pic>
              <p:nvPicPr>
                <p:cNvPr id="10" name="Graphic 9" descr="Connections with solid fill">
                  <a:extLst>
                    <a:ext uri="{FF2B5EF4-FFF2-40B4-BE49-F238E27FC236}">
                      <a16:creationId xmlns:a16="http://schemas.microsoft.com/office/drawing/2014/main" id="{0C9DA3C3-B7D3-A1DA-04FC-18218215074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80001" y="902415"/>
                  <a:ext cx="6408173" cy="6359012"/>
                </a:xfrm>
                <a:prstGeom prst="rect">
                  <a:avLst/>
                </a:prstGeom>
              </p:spPr>
            </p:pic>
            <p:sp>
              <p:nvSpPr>
                <p:cNvPr id="11" name="Oval 10">
                  <a:extLst>
                    <a:ext uri="{FF2B5EF4-FFF2-40B4-BE49-F238E27FC236}">
                      <a16:creationId xmlns:a16="http://schemas.microsoft.com/office/drawing/2014/main" id="{83DEDE98-22FA-C7A7-942F-3C413C8A9B2E}"/>
                    </a:ext>
                  </a:extLst>
                </p:cNvPr>
                <p:cNvSpPr/>
                <p:nvPr/>
              </p:nvSpPr>
              <p:spPr>
                <a:xfrm>
                  <a:off x="10076089" y="1714841"/>
                  <a:ext cx="1388966" cy="124518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ptos" panose="020B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" name="Oval 11">
                  <a:extLst>
                    <a:ext uri="{FF2B5EF4-FFF2-40B4-BE49-F238E27FC236}">
                      <a16:creationId xmlns:a16="http://schemas.microsoft.com/office/drawing/2014/main" id="{5E3EEBEF-2E94-EC77-8A59-A0B56A27B65A}"/>
                    </a:ext>
                  </a:extLst>
                </p:cNvPr>
                <p:cNvSpPr/>
                <p:nvPr/>
              </p:nvSpPr>
              <p:spPr>
                <a:xfrm>
                  <a:off x="8355442" y="1714838"/>
                  <a:ext cx="921936" cy="815021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ptos" panose="020B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" name="Oval 12">
                  <a:extLst>
                    <a:ext uri="{FF2B5EF4-FFF2-40B4-BE49-F238E27FC236}">
                      <a16:creationId xmlns:a16="http://schemas.microsoft.com/office/drawing/2014/main" id="{D16354E9-484A-B5CE-96C8-3BB352F64D1E}"/>
                    </a:ext>
                  </a:extLst>
                </p:cNvPr>
                <p:cNvSpPr/>
                <p:nvPr/>
              </p:nvSpPr>
              <p:spPr>
                <a:xfrm>
                  <a:off x="6401282" y="3128227"/>
                  <a:ext cx="1388966" cy="124518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ptos" panose="020B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" name="Oval 13">
                  <a:extLst>
                    <a:ext uri="{FF2B5EF4-FFF2-40B4-BE49-F238E27FC236}">
                      <a16:creationId xmlns:a16="http://schemas.microsoft.com/office/drawing/2014/main" id="{A6E8CAD7-F2F4-F1E7-269A-0B0E7842787A}"/>
                    </a:ext>
                  </a:extLst>
                </p:cNvPr>
                <p:cNvSpPr/>
                <p:nvPr/>
              </p:nvSpPr>
              <p:spPr>
                <a:xfrm>
                  <a:off x="10955420" y="3643877"/>
                  <a:ext cx="921936" cy="901611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ptos" panose="020B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" name="Oval 14">
                  <a:extLst>
                    <a:ext uri="{FF2B5EF4-FFF2-40B4-BE49-F238E27FC236}">
                      <a16:creationId xmlns:a16="http://schemas.microsoft.com/office/drawing/2014/main" id="{9CD8B0C2-BE59-E66C-3620-896C2F23904D}"/>
                    </a:ext>
                  </a:extLst>
                </p:cNvPr>
                <p:cNvSpPr/>
                <p:nvPr/>
              </p:nvSpPr>
              <p:spPr>
                <a:xfrm>
                  <a:off x="7003507" y="5696903"/>
                  <a:ext cx="921936" cy="815021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ptos" panose="020B00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" name="Oval 15">
                  <a:extLst>
                    <a:ext uri="{FF2B5EF4-FFF2-40B4-BE49-F238E27FC236}">
                      <a16:creationId xmlns:a16="http://schemas.microsoft.com/office/drawing/2014/main" id="{6DD97D19-986F-AFF6-9D13-8C4CC457B981}"/>
                    </a:ext>
                  </a:extLst>
                </p:cNvPr>
                <p:cNvSpPr/>
                <p:nvPr/>
              </p:nvSpPr>
              <p:spPr>
                <a:xfrm>
                  <a:off x="8436448" y="4239384"/>
                  <a:ext cx="1919963" cy="1634559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ptos" panose="020B0004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FE5EDBB6-2157-9D73-9DB5-F0973DA83EF2}"/>
                  </a:ext>
                </a:extLst>
              </p:cNvPr>
              <p:cNvSpPr/>
              <p:nvPr/>
            </p:nvSpPr>
            <p:spPr>
              <a:xfrm>
                <a:off x="10455908" y="4961812"/>
                <a:ext cx="1527995" cy="1541517"/>
              </a:xfrm>
              <a:prstGeom prst="ellipse">
                <a:avLst/>
              </a:prstGeom>
              <a:solidFill>
                <a:srgbClr val="FFFFFF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0B0004020202020204"/>
                  <a:ea typeface="+mn-ea"/>
                  <a:cs typeface="+mn-cs"/>
                </a:endParaRP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D5A9B272-0920-202A-9621-7FE7EC09BB6A}"/>
                  </a:ext>
                </a:extLst>
              </p:cNvPr>
              <p:cNvSpPr/>
              <p:nvPr/>
            </p:nvSpPr>
            <p:spPr>
              <a:xfrm>
                <a:off x="11338678" y="4297073"/>
                <a:ext cx="241540" cy="87153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0B0004020202020204"/>
                  <a:ea typeface="+mn-ea"/>
                  <a:cs typeface="+mn-cs"/>
                </a:endParaRP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AAA0281C-D92F-63C3-F833-313AEE833BD5}"/>
                  </a:ext>
                </a:extLst>
              </p:cNvPr>
              <p:cNvSpPr/>
              <p:nvPr/>
            </p:nvSpPr>
            <p:spPr>
              <a:xfrm rot="17700000">
                <a:off x="10174431" y="5004953"/>
                <a:ext cx="238125" cy="84772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0B0004020202020204"/>
                  <a:ea typeface="+mn-ea"/>
                  <a:cs typeface="+mn-cs"/>
                </a:endParaRPr>
              </a:p>
            </p:txBody>
          </p:sp>
        </p:grpSp>
        <p:pic>
          <p:nvPicPr>
            <p:cNvPr id="4" name="Picture 3" descr="A blue sign with white letters&#10;&#10;AI-generated content may be incorrect.">
              <a:extLst>
                <a:ext uri="{FF2B5EF4-FFF2-40B4-BE49-F238E27FC236}">
                  <a16:creationId xmlns:a16="http://schemas.microsoft.com/office/drawing/2014/main" id="{D8F833AE-B12E-B01B-50B9-6137B7B1B7F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1039951" y="3764034"/>
              <a:ext cx="741454" cy="529143"/>
            </a:xfrm>
            <a:prstGeom prst="rect">
              <a:avLst/>
            </a:prstGeom>
          </p:spPr>
        </p:pic>
        <p:pic>
          <p:nvPicPr>
            <p:cNvPr id="5" name="Picture 4" descr="A logo for a company&#10;&#10;AI-generated content may be incorrect.">
              <a:extLst>
                <a:ext uri="{FF2B5EF4-FFF2-40B4-BE49-F238E27FC236}">
                  <a16:creationId xmlns:a16="http://schemas.microsoft.com/office/drawing/2014/main" id="{AD9C3B0D-91CF-28C2-6B62-F0C87A635F2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030555" y="2001348"/>
              <a:ext cx="1443848" cy="644160"/>
            </a:xfrm>
            <a:prstGeom prst="rect">
              <a:avLst/>
            </a:prstGeom>
          </p:spPr>
        </p:pic>
        <p:pic>
          <p:nvPicPr>
            <p:cNvPr id="6" name="Picture 5" descr="A blue text on a white background&#10;&#10;AI-generated content may be incorrect.">
              <a:extLst>
                <a:ext uri="{FF2B5EF4-FFF2-40B4-BE49-F238E27FC236}">
                  <a16:creationId xmlns:a16="http://schemas.microsoft.com/office/drawing/2014/main" id="{401D6E48-CE67-AD2B-2181-C9EDB4EDCAE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386565" y="3533936"/>
              <a:ext cx="1432361" cy="486931"/>
            </a:xfrm>
            <a:prstGeom prst="rect">
              <a:avLst/>
            </a:prstGeom>
          </p:spPr>
        </p:pic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61171A52-2E99-7FDD-06D7-9444CB9E004C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294915" y="1807701"/>
              <a:ext cx="1001486" cy="597371"/>
            </a:xfrm>
            <a:prstGeom prst="rect">
              <a:avLst/>
            </a:prstGeom>
          </p:spPr>
        </p:pic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C45CE05B-9B8E-DD42-5E06-A671D74BEBD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518091" y="4580440"/>
              <a:ext cx="1722828" cy="731800"/>
            </a:xfrm>
            <a:prstGeom prst="rect">
              <a:avLst/>
            </a:prstGeom>
          </p:spPr>
        </p:pic>
        <p:pic>
          <p:nvPicPr>
            <p:cNvPr id="9" name="Picture 8" descr="A black text on a white background&#10;&#10;AI-generated content may be incorrect.">
              <a:extLst>
                <a:ext uri="{FF2B5EF4-FFF2-40B4-BE49-F238E27FC236}">
                  <a16:creationId xmlns:a16="http://schemas.microsoft.com/office/drawing/2014/main" id="{1958A16C-687D-53B7-40A6-787662DA2FA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0535788" y="5484694"/>
              <a:ext cx="1378993" cy="540223"/>
            </a:xfrm>
            <a:prstGeom prst="rect">
              <a:avLst/>
            </a:prstGeom>
          </p:spPr>
        </p:pic>
        <p:pic>
          <p:nvPicPr>
            <p:cNvPr id="18" name="Picture 17" descr="A person holding a horse&#10;&#10;AI-generated content may be incorrect.">
              <a:extLst>
                <a:ext uri="{FF2B5EF4-FFF2-40B4-BE49-F238E27FC236}">
                  <a16:creationId xmlns:a16="http://schemas.microsoft.com/office/drawing/2014/main" id="{F9B50536-E283-EAFE-3A4F-64B6F033AB2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076862" y="5681874"/>
              <a:ext cx="801949" cy="7486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22318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ide yellow abb rectangle">
            <a:extLst>
              <a:ext uri="{FF2B5EF4-FFF2-40B4-BE49-F238E27FC236}">
                <a16:creationId xmlns:a16="http://schemas.microsoft.com/office/drawing/2014/main" id="{53DA20E7-72D2-828A-BD47-3B25B8BF5DB0}"/>
              </a:ext>
            </a:extLst>
          </p:cNvPr>
          <p:cNvSpPr/>
          <p:nvPr/>
        </p:nvSpPr>
        <p:spPr>
          <a:xfrm>
            <a:off x="5436526" y="0"/>
            <a:ext cx="6755474" cy="16103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landersArtSerif-Regular"/>
              <a:ea typeface="+mn-ea"/>
              <a:cs typeface="+mn-cs"/>
              <a:sym typeface="Helvetica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47E3A78-04B7-29DC-99C4-BFBA67AAED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>
                <a:latin typeface="FlandersArtSans-Medium"/>
              </a:rPr>
              <a:t>4 </a:t>
            </a:r>
            <a:r>
              <a:rPr lang="nl-NL" err="1">
                <a:latin typeface="FlandersArtSans-Medium"/>
              </a:rPr>
              <a:t>usecases</a:t>
            </a:r>
            <a:r>
              <a:rPr lang="nl-NL">
                <a:latin typeface="FlandersArtSans-Medium"/>
              </a:rPr>
              <a:t> </a:t>
            </a:r>
            <a:r>
              <a:rPr lang="nl-NL" err="1">
                <a:latin typeface="FlandersArtSans-Medium"/>
              </a:rPr>
              <a:t>within</a:t>
            </a:r>
            <a:r>
              <a:rPr lang="nl-NL">
                <a:latin typeface="FlandersArtSans-Medium"/>
              </a:rPr>
              <a:t> </a:t>
            </a:r>
            <a:r>
              <a:rPr lang="nl-NL" err="1">
                <a:latin typeface="FlandersArtSans-Medium"/>
              </a:rPr>
              <a:t>the</a:t>
            </a:r>
            <a:r>
              <a:rPr lang="nl-NL">
                <a:latin typeface="FlandersArtSans-Medium"/>
              </a:rPr>
              <a:t> project</a:t>
            </a:r>
            <a:endParaRPr lang="nl-BE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D83F84A6-428E-8D1A-208F-B720929FB324}"/>
              </a:ext>
            </a:extLst>
          </p:cNvPr>
          <p:cNvSpPr/>
          <p:nvPr/>
        </p:nvSpPr>
        <p:spPr>
          <a:xfrm>
            <a:off x="363415" y="4569478"/>
            <a:ext cx="11465169" cy="419100"/>
          </a:xfrm>
          <a:prstGeom prst="rect">
            <a:avLst/>
          </a:prstGeom>
          <a:solidFill>
            <a:srgbClr val="2A919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landersArtSans-Regular"/>
                <a:ea typeface="+mn-ea"/>
                <a:cs typeface="+mn-cs"/>
                <a:sym typeface="Helvetica"/>
              </a:rPr>
              <a:t>AI </a:t>
            </a:r>
            <a:r>
              <a:rPr kumimoji="0" lang="nl-BE" sz="1800" b="0" i="0" u="none" strike="noStrike" kern="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landersArtSans-Regular"/>
                <a:ea typeface="+mn-ea"/>
                <a:cs typeface="+mn-cs"/>
                <a:sym typeface="Helvetica"/>
              </a:rPr>
              <a:t>supported</a:t>
            </a: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landersArtSans-Regular"/>
                <a:ea typeface="+mn-ea"/>
                <a:cs typeface="+mn-cs"/>
                <a:sym typeface="Helvetica"/>
              </a:rPr>
              <a:t> </a:t>
            </a:r>
            <a:r>
              <a:rPr kumimoji="0" lang="nl-BE" sz="1800" b="0" i="0" u="none" strike="noStrike" kern="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landersArtSans-Regular"/>
                <a:ea typeface="+mn-ea"/>
                <a:cs typeface="+mn-cs"/>
                <a:sym typeface="Helvetica"/>
              </a:rPr>
              <a:t>solutions</a:t>
            </a:r>
            <a:endParaRPr kumimoji="0" lang="nl-B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landersArtSans-Regular"/>
              <a:ea typeface="+mn-ea"/>
              <a:cs typeface="+mn-cs"/>
              <a:sym typeface="Helvetica"/>
            </a:endParaRPr>
          </a:p>
        </p:txBody>
      </p:sp>
      <p:grpSp>
        <p:nvGrpSpPr>
          <p:cNvPr id="30" name="Groep 29">
            <a:extLst>
              <a:ext uri="{FF2B5EF4-FFF2-40B4-BE49-F238E27FC236}">
                <a16:creationId xmlns:a16="http://schemas.microsoft.com/office/drawing/2014/main" id="{68F23080-85DC-DF5F-79DF-D2CF32F4DE8A}"/>
              </a:ext>
            </a:extLst>
          </p:cNvPr>
          <p:cNvGrpSpPr/>
          <p:nvPr/>
        </p:nvGrpSpPr>
        <p:grpSpPr>
          <a:xfrm>
            <a:off x="363415" y="2248171"/>
            <a:ext cx="2752829" cy="2234218"/>
            <a:chOff x="834954" y="2463858"/>
            <a:chExt cx="2752829" cy="2234218"/>
          </a:xfrm>
        </p:grpSpPr>
        <p:grpSp>
          <p:nvGrpSpPr>
            <p:cNvPr id="26" name="local authorities">
              <a:extLst>
                <a:ext uri="{FF2B5EF4-FFF2-40B4-BE49-F238E27FC236}">
                  <a16:creationId xmlns:a16="http://schemas.microsoft.com/office/drawing/2014/main" id="{4452B913-2316-7BF3-F099-936A5F9B7B61}"/>
                </a:ext>
              </a:extLst>
            </p:cNvPr>
            <p:cNvGrpSpPr/>
            <p:nvPr/>
          </p:nvGrpSpPr>
          <p:grpSpPr>
            <a:xfrm>
              <a:off x="834954" y="2463858"/>
              <a:ext cx="2752829" cy="2234218"/>
              <a:chOff x="5094598" y="1131327"/>
              <a:chExt cx="2752829" cy="2234218"/>
            </a:xfrm>
          </p:grpSpPr>
          <p:sp>
            <p:nvSpPr>
              <p:cNvPr id="27" name="Oval 3">
                <a:extLst>
                  <a:ext uri="{FF2B5EF4-FFF2-40B4-BE49-F238E27FC236}">
                    <a16:creationId xmlns:a16="http://schemas.microsoft.com/office/drawing/2014/main" id="{801CB7BE-5852-636A-5763-BAD274B2B328}"/>
                  </a:ext>
                </a:extLst>
              </p:cNvPr>
              <p:cNvSpPr/>
              <p:nvPr/>
            </p:nvSpPr>
            <p:spPr>
              <a:xfrm>
                <a:off x="5768845" y="1131327"/>
                <a:ext cx="1505798" cy="1505798"/>
              </a:xfrm>
              <a:prstGeom prst="ellipse">
                <a:avLst/>
              </a:prstGeom>
              <a:solidFill>
                <a:schemeClr val="accent1"/>
              </a:solidFill>
              <a:ln>
                <a:solidFill>
                  <a:schemeClr val="tx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B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landersArtSerif-Regular"/>
                  <a:ea typeface="+mn-ea"/>
                  <a:cs typeface="+mn-cs"/>
                </a:endParaRPr>
              </a:p>
            </p:txBody>
          </p:sp>
          <p:sp>
            <p:nvSpPr>
              <p:cNvPr id="29" name="main-info-over-GN">
                <a:extLst>
                  <a:ext uri="{FF2B5EF4-FFF2-40B4-BE49-F238E27FC236}">
                    <a16:creationId xmlns:a16="http://schemas.microsoft.com/office/drawing/2014/main" id="{51CAC708-4EF8-D34E-DD91-2C3BB7CE4C85}"/>
                  </a:ext>
                </a:extLst>
              </p:cNvPr>
              <p:cNvSpPr/>
              <p:nvPr/>
            </p:nvSpPr>
            <p:spPr>
              <a:xfrm>
                <a:off x="5094598" y="2031327"/>
                <a:ext cx="2752829" cy="133421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2">
                    <a:lumMod val="20000"/>
                    <a:lumOff val="80000"/>
                  </a:schemeClr>
                </a:solidFill>
              </a:ln>
              <a:effectLst>
                <a:outerShdw blurRad="63500" sx="102000" sy="102000" algn="ctr" rotWithShape="0">
                  <a:schemeClr val="accent5">
                    <a:lumMod val="60000"/>
                    <a:lumOff val="40000"/>
                    <a:alpha val="4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51999" tIns="45720" rIns="91440" bIns="45720" rtlCol="0" anchor="ctr"/>
              <a:lstStyle/>
              <a:p>
                <a:pPr algn="ctr"/>
                <a:r>
                  <a:rPr lang="nl-NL" kern="1200">
                    <a:solidFill>
                      <a:srgbClr val="6B6B6B"/>
                    </a:solidFill>
                    <a:latin typeface="FlandersArtSerif-Regular"/>
                  </a:rPr>
                  <a:t>Basic set up data </a:t>
                </a:r>
                <a:r>
                  <a:rPr lang="nl-NL" kern="1200" err="1">
                    <a:solidFill>
                      <a:srgbClr val="6B6B6B"/>
                    </a:solidFill>
                    <a:latin typeface="FlandersArtSerif-Regular"/>
                  </a:rPr>
                  <a:t>space</a:t>
                </a:r>
                <a:endParaRPr lang="nl-NL" kern="1200">
                  <a:solidFill>
                    <a:srgbClr val="6B6B6B"/>
                  </a:solidFill>
                  <a:latin typeface="FlandersArtSerif-Regular"/>
                </a:endParaRPr>
              </a:p>
              <a:p>
                <a:pPr algn="ctr"/>
                <a:r>
                  <a:rPr lang="nl-NL" kern="1200">
                    <a:solidFill>
                      <a:srgbClr val="6B6B6B"/>
                    </a:solidFill>
                    <a:latin typeface="FlandersArtSerif-Regular"/>
                  </a:rPr>
                  <a:t>UC0</a:t>
                </a:r>
              </a:p>
            </p:txBody>
          </p:sp>
        </p:grpSp>
        <p:pic>
          <p:nvPicPr>
            <p:cNvPr id="17" name="Graphic 16" descr="Netwerk silhouet">
              <a:extLst>
                <a:ext uri="{FF2B5EF4-FFF2-40B4-BE49-F238E27FC236}">
                  <a16:creationId xmlns:a16="http://schemas.microsoft.com/office/drawing/2014/main" id="{9D8FC05A-E6A6-E21F-34CD-A01970FA8D6E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804900" y="2550519"/>
              <a:ext cx="914400" cy="914400"/>
            </a:xfrm>
            <a:prstGeom prst="rect">
              <a:avLst/>
            </a:prstGeom>
          </p:spPr>
        </p:pic>
      </p:grpSp>
      <p:grpSp>
        <p:nvGrpSpPr>
          <p:cNvPr id="36" name="Groep 35">
            <a:extLst>
              <a:ext uri="{FF2B5EF4-FFF2-40B4-BE49-F238E27FC236}">
                <a16:creationId xmlns:a16="http://schemas.microsoft.com/office/drawing/2014/main" id="{68171AF5-5811-4EC3-4271-9D97C008043F}"/>
              </a:ext>
            </a:extLst>
          </p:cNvPr>
          <p:cNvGrpSpPr/>
          <p:nvPr/>
        </p:nvGrpSpPr>
        <p:grpSpPr>
          <a:xfrm>
            <a:off x="3250108" y="2248171"/>
            <a:ext cx="2752829" cy="2234218"/>
            <a:chOff x="1773620" y="3561537"/>
            <a:chExt cx="2752829" cy="2234218"/>
          </a:xfrm>
        </p:grpSpPr>
        <p:grpSp>
          <p:nvGrpSpPr>
            <p:cNvPr id="32" name="local authorities">
              <a:extLst>
                <a:ext uri="{FF2B5EF4-FFF2-40B4-BE49-F238E27FC236}">
                  <a16:creationId xmlns:a16="http://schemas.microsoft.com/office/drawing/2014/main" id="{30B49F0B-6D0B-E2EE-ED38-E5485959D59A}"/>
                </a:ext>
              </a:extLst>
            </p:cNvPr>
            <p:cNvGrpSpPr/>
            <p:nvPr/>
          </p:nvGrpSpPr>
          <p:grpSpPr>
            <a:xfrm>
              <a:off x="1773620" y="3561537"/>
              <a:ext cx="2752829" cy="2234218"/>
              <a:chOff x="5094598" y="1131327"/>
              <a:chExt cx="2752829" cy="2234218"/>
            </a:xfrm>
          </p:grpSpPr>
          <p:sp>
            <p:nvSpPr>
              <p:cNvPr id="34" name="Oval 3">
                <a:extLst>
                  <a:ext uri="{FF2B5EF4-FFF2-40B4-BE49-F238E27FC236}">
                    <a16:creationId xmlns:a16="http://schemas.microsoft.com/office/drawing/2014/main" id="{315469FA-1E42-16E6-5217-2990358DE18C}"/>
                  </a:ext>
                </a:extLst>
              </p:cNvPr>
              <p:cNvSpPr/>
              <p:nvPr/>
            </p:nvSpPr>
            <p:spPr>
              <a:xfrm>
                <a:off x="5768845" y="1131327"/>
                <a:ext cx="1505798" cy="1505798"/>
              </a:xfrm>
              <a:prstGeom prst="ellipse">
                <a:avLst/>
              </a:prstGeom>
              <a:solidFill>
                <a:schemeClr val="accent1"/>
              </a:solidFill>
              <a:ln>
                <a:solidFill>
                  <a:schemeClr val="tx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B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landersArtSerif-Regular"/>
                  <a:ea typeface="+mn-ea"/>
                  <a:cs typeface="+mn-cs"/>
                </a:endParaRPr>
              </a:p>
            </p:txBody>
          </p:sp>
          <p:sp>
            <p:nvSpPr>
              <p:cNvPr id="35" name="main-info-over-GN">
                <a:extLst>
                  <a:ext uri="{FF2B5EF4-FFF2-40B4-BE49-F238E27FC236}">
                    <a16:creationId xmlns:a16="http://schemas.microsoft.com/office/drawing/2014/main" id="{59134765-1122-779C-3DA2-AF25E82C7F8E}"/>
                  </a:ext>
                </a:extLst>
              </p:cNvPr>
              <p:cNvSpPr/>
              <p:nvPr/>
            </p:nvSpPr>
            <p:spPr>
              <a:xfrm>
                <a:off x="5094598" y="2031327"/>
                <a:ext cx="2752829" cy="133421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2">
                    <a:lumMod val="20000"/>
                    <a:lumOff val="80000"/>
                  </a:schemeClr>
                </a:solidFill>
              </a:ln>
              <a:effectLst>
                <a:outerShdw blurRad="63500" sx="102000" sy="102000" algn="ctr" rotWithShape="0">
                  <a:schemeClr val="accent5">
                    <a:lumMod val="60000"/>
                    <a:lumOff val="40000"/>
                    <a:alpha val="4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51999" tIns="45720" rIns="91440" bIns="45720" rtlCol="0" anchor="ctr"/>
              <a:lstStyle/>
              <a:p>
                <a:pPr algn="ctr"/>
                <a:r>
                  <a:rPr lang="nl-NL" kern="1200">
                    <a:solidFill>
                      <a:srgbClr val="6B6B6B"/>
                    </a:solidFill>
                    <a:latin typeface="FlandersArtSerif-Regular"/>
                  </a:rPr>
                  <a:t>Policy impact report</a:t>
                </a:r>
              </a:p>
              <a:p>
                <a:pPr algn="ctr"/>
                <a:r>
                  <a:rPr lang="nl-NL" kern="1200">
                    <a:solidFill>
                      <a:srgbClr val="6B6B6B"/>
                    </a:solidFill>
                    <a:latin typeface="FlandersArtSerif-Regular"/>
                  </a:rPr>
                  <a:t>UC0.1</a:t>
                </a:r>
                <a:endParaRPr lang="nl-BE" kern="1200">
                  <a:solidFill>
                    <a:srgbClr val="6B6B6B"/>
                  </a:solidFill>
                  <a:latin typeface="FlandersArtSerif-Regular"/>
                </a:endParaRPr>
              </a:p>
            </p:txBody>
          </p:sp>
        </p:grpSp>
        <p:pic>
          <p:nvPicPr>
            <p:cNvPr id="19" name="Graphic 18" descr="Presentatie met controlelijst silhouet">
              <a:extLst>
                <a:ext uri="{FF2B5EF4-FFF2-40B4-BE49-F238E27FC236}">
                  <a16:creationId xmlns:a16="http://schemas.microsoft.com/office/drawing/2014/main" id="{BF0BEBA5-1007-C376-4F55-7CEC354071AA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743566" y="3648626"/>
              <a:ext cx="914400" cy="914400"/>
            </a:xfrm>
            <a:prstGeom prst="rect">
              <a:avLst/>
            </a:prstGeom>
          </p:spPr>
        </p:pic>
      </p:grpSp>
      <p:grpSp>
        <p:nvGrpSpPr>
          <p:cNvPr id="42" name="Groep 41">
            <a:extLst>
              <a:ext uri="{FF2B5EF4-FFF2-40B4-BE49-F238E27FC236}">
                <a16:creationId xmlns:a16="http://schemas.microsoft.com/office/drawing/2014/main" id="{EE920AA3-D4B4-6305-59FB-A0316660E1FC}"/>
              </a:ext>
            </a:extLst>
          </p:cNvPr>
          <p:cNvGrpSpPr/>
          <p:nvPr/>
        </p:nvGrpSpPr>
        <p:grpSpPr>
          <a:xfrm>
            <a:off x="6146036" y="2248171"/>
            <a:ext cx="2752829" cy="2234218"/>
            <a:chOff x="3782541" y="1927487"/>
            <a:chExt cx="2752829" cy="2234218"/>
          </a:xfrm>
        </p:grpSpPr>
        <p:grpSp>
          <p:nvGrpSpPr>
            <p:cNvPr id="38" name="local authorities">
              <a:extLst>
                <a:ext uri="{FF2B5EF4-FFF2-40B4-BE49-F238E27FC236}">
                  <a16:creationId xmlns:a16="http://schemas.microsoft.com/office/drawing/2014/main" id="{096F6631-0606-7758-DA62-1C6C622A30EC}"/>
                </a:ext>
              </a:extLst>
            </p:cNvPr>
            <p:cNvGrpSpPr/>
            <p:nvPr/>
          </p:nvGrpSpPr>
          <p:grpSpPr>
            <a:xfrm>
              <a:off x="3782541" y="1927487"/>
              <a:ext cx="2752829" cy="2234218"/>
              <a:chOff x="5094598" y="1131327"/>
              <a:chExt cx="2752829" cy="2234218"/>
            </a:xfrm>
          </p:grpSpPr>
          <p:sp>
            <p:nvSpPr>
              <p:cNvPr id="40" name="Oval 3">
                <a:extLst>
                  <a:ext uri="{FF2B5EF4-FFF2-40B4-BE49-F238E27FC236}">
                    <a16:creationId xmlns:a16="http://schemas.microsoft.com/office/drawing/2014/main" id="{DF1E033F-5142-871D-4701-588DF5CE79C9}"/>
                  </a:ext>
                </a:extLst>
              </p:cNvPr>
              <p:cNvSpPr/>
              <p:nvPr/>
            </p:nvSpPr>
            <p:spPr>
              <a:xfrm>
                <a:off x="5768845" y="1131327"/>
                <a:ext cx="1505798" cy="1505798"/>
              </a:xfrm>
              <a:prstGeom prst="ellipse">
                <a:avLst/>
              </a:prstGeom>
              <a:solidFill>
                <a:schemeClr val="accent1"/>
              </a:solidFill>
              <a:ln>
                <a:solidFill>
                  <a:schemeClr val="tx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B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landersArtSerif-Regular"/>
                  <a:ea typeface="+mn-ea"/>
                  <a:cs typeface="+mn-cs"/>
                </a:endParaRPr>
              </a:p>
            </p:txBody>
          </p:sp>
          <p:sp>
            <p:nvSpPr>
              <p:cNvPr id="41" name="main-info-over-GN">
                <a:extLst>
                  <a:ext uri="{FF2B5EF4-FFF2-40B4-BE49-F238E27FC236}">
                    <a16:creationId xmlns:a16="http://schemas.microsoft.com/office/drawing/2014/main" id="{452E67EB-3E05-9822-C6BE-528586C32F15}"/>
                  </a:ext>
                </a:extLst>
              </p:cNvPr>
              <p:cNvSpPr/>
              <p:nvPr/>
            </p:nvSpPr>
            <p:spPr>
              <a:xfrm>
                <a:off x="5094598" y="2031327"/>
                <a:ext cx="2752829" cy="133421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2">
                    <a:lumMod val="20000"/>
                    <a:lumOff val="80000"/>
                  </a:schemeClr>
                </a:solidFill>
              </a:ln>
              <a:effectLst>
                <a:outerShdw blurRad="63500" sx="102000" sy="102000" algn="ctr" rotWithShape="0">
                  <a:schemeClr val="accent5">
                    <a:lumMod val="60000"/>
                    <a:lumOff val="40000"/>
                    <a:alpha val="4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51999" tIns="45720" rIns="91440" bIns="45720" rtlCol="0" anchor="ctr"/>
              <a:lstStyle/>
              <a:p>
                <a:pPr lvl="0" algn="ctr"/>
                <a:r>
                  <a:rPr lang="en-US" kern="1200">
                    <a:solidFill>
                      <a:srgbClr val="6B6B6B"/>
                    </a:solidFill>
                    <a:latin typeface="FlandersArtSerif-Regular"/>
                  </a:rPr>
                  <a:t>Mapping LD&amp;L on restricted mobility zones to geo-locations </a:t>
                </a:r>
              </a:p>
              <a:p>
                <a:pPr lvl="0" algn="ctr"/>
                <a:r>
                  <a:rPr lang="nl-NL" kern="1200">
                    <a:solidFill>
                      <a:srgbClr val="6B6B6B"/>
                    </a:solidFill>
                    <a:latin typeface="FlandersArtSerif-Regular"/>
                  </a:rPr>
                  <a:t>UC1</a:t>
                </a:r>
                <a:endParaRPr lang="nl-BE" kern="1200">
                  <a:solidFill>
                    <a:srgbClr val="6B6B6B"/>
                  </a:solidFill>
                  <a:latin typeface="FlandersArtSerif-Regular"/>
                </a:endParaRPr>
              </a:p>
            </p:txBody>
          </p:sp>
        </p:grpSp>
        <p:pic>
          <p:nvPicPr>
            <p:cNvPr id="25" name="Graphic 24" descr="Kaart met speld silhouet">
              <a:extLst>
                <a:ext uri="{FF2B5EF4-FFF2-40B4-BE49-F238E27FC236}">
                  <a16:creationId xmlns:a16="http://schemas.microsoft.com/office/drawing/2014/main" id="{498AB3B2-FA31-08AB-30CD-4C1E84F3102D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789956" y="2000553"/>
              <a:ext cx="914400" cy="914400"/>
            </a:xfrm>
            <a:prstGeom prst="rect">
              <a:avLst/>
            </a:prstGeom>
          </p:spPr>
        </p:pic>
      </p:grpSp>
      <p:grpSp>
        <p:nvGrpSpPr>
          <p:cNvPr id="49" name="Groep 48">
            <a:extLst>
              <a:ext uri="{FF2B5EF4-FFF2-40B4-BE49-F238E27FC236}">
                <a16:creationId xmlns:a16="http://schemas.microsoft.com/office/drawing/2014/main" id="{FD5DD831-C6A4-E6FD-B085-F6A5813AB477}"/>
              </a:ext>
            </a:extLst>
          </p:cNvPr>
          <p:cNvGrpSpPr/>
          <p:nvPr/>
        </p:nvGrpSpPr>
        <p:grpSpPr>
          <a:xfrm>
            <a:off x="9041965" y="2248171"/>
            <a:ext cx="2752829" cy="2234218"/>
            <a:chOff x="7104629" y="2814860"/>
            <a:chExt cx="2752829" cy="2234218"/>
          </a:xfrm>
        </p:grpSpPr>
        <p:grpSp>
          <p:nvGrpSpPr>
            <p:cNvPr id="45" name="local authorities">
              <a:extLst>
                <a:ext uri="{FF2B5EF4-FFF2-40B4-BE49-F238E27FC236}">
                  <a16:creationId xmlns:a16="http://schemas.microsoft.com/office/drawing/2014/main" id="{7E2D05D9-6A14-0A41-C19C-45025B67D233}"/>
                </a:ext>
              </a:extLst>
            </p:cNvPr>
            <p:cNvGrpSpPr/>
            <p:nvPr/>
          </p:nvGrpSpPr>
          <p:grpSpPr>
            <a:xfrm>
              <a:off x="7104629" y="2814860"/>
              <a:ext cx="2752829" cy="2234218"/>
              <a:chOff x="5094598" y="1131327"/>
              <a:chExt cx="2752829" cy="2234218"/>
            </a:xfrm>
          </p:grpSpPr>
          <p:sp>
            <p:nvSpPr>
              <p:cNvPr id="47" name="Oval 3">
                <a:extLst>
                  <a:ext uri="{FF2B5EF4-FFF2-40B4-BE49-F238E27FC236}">
                    <a16:creationId xmlns:a16="http://schemas.microsoft.com/office/drawing/2014/main" id="{A15D7096-DDF5-7791-971D-90C859432446}"/>
                  </a:ext>
                </a:extLst>
              </p:cNvPr>
              <p:cNvSpPr/>
              <p:nvPr/>
            </p:nvSpPr>
            <p:spPr>
              <a:xfrm>
                <a:off x="5768845" y="1131327"/>
                <a:ext cx="1505798" cy="1505798"/>
              </a:xfrm>
              <a:prstGeom prst="ellipse">
                <a:avLst/>
              </a:prstGeom>
              <a:solidFill>
                <a:schemeClr val="accent1"/>
              </a:solidFill>
              <a:ln>
                <a:solidFill>
                  <a:schemeClr val="tx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B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landersArtSerif-Regular"/>
                  <a:ea typeface="+mn-ea"/>
                  <a:cs typeface="+mn-cs"/>
                </a:endParaRPr>
              </a:p>
            </p:txBody>
          </p:sp>
          <p:sp>
            <p:nvSpPr>
              <p:cNvPr id="48" name="main-info-over-GN">
                <a:extLst>
                  <a:ext uri="{FF2B5EF4-FFF2-40B4-BE49-F238E27FC236}">
                    <a16:creationId xmlns:a16="http://schemas.microsoft.com/office/drawing/2014/main" id="{0CB6CCD5-7438-1392-1B35-4F69AE2E88CE}"/>
                  </a:ext>
                </a:extLst>
              </p:cNvPr>
              <p:cNvSpPr/>
              <p:nvPr/>
            </p:nvSpPr>
            <p:spPr>
              <a:xfrm>
                <a:off x="5094598" y="2031327"/>
                <a:ext cx="2752829" cy="133421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2">
                    <a:lumMod val="20000"/>
                    <a:lumOff val="80000"/>
                  </a:schemeClr>
                </a:solidFill>
              </a:ln>
              <a:effectLst>
                <a:outerShdw blurRad="63500" sx="102000" sy="102000" algn="ctr" rotWithShape="0">
                  <a:schemeClr val="accent5">
                    <a:lumMod val="60000"/>
                    <a:lumOff val="40000"/>
                    <a:alpha val="4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51999" tIns="45720" rIns="91440" bIns="45720" rtlCol="0" anchor="ctr"/>
              <a:lstStyle/>
              <a:p>
                <a:pPr lvl="0" algn="ctr"/>
                <a:r>
                  <a:rPr lang="en-US" kern="1200" dirty="0">
                    <a:solidFill>
                      <a:srgbClr val="6B6B6B"/>
                    </a:solidFill>
                    <a:latin typeface="FlandersArtSerif-Regular"/>
                  </a:rPr>
                  <a:t>SMART SEARCH</a:t>
                </a:r>
              </a:p>
              <a:p>
                <a:pPr lvl="0" algn="ctr"/>
                <a:r>
                  <a:rPr lang="nl-NL" kern="1200" dirty="0">
                    <a:solidFill>
                      <a:srgbClr val="6B6B6B"/>
                    </a:solidFill>
                    <a:latin typeface="FlandersArtSerif-Regular"/>
                  </a:rPr>
                  <a:t>UC2</a:t>
                </a:r>
                <a:endParaRPr lang="nl-BE" kern="1200" dirty="0">
                  <a:solidFill>
                    <a:srgbClr val="6B6B6B"/>
                  </a:solidFill>
                  <a:latin typeface="FlandersArtSerif-Regular"/>
                </a:endParaRPr>
              </a:p>
            </p:txBody>
          </p:sp>
        </p:grpSp>
        <p:pic>
          <p:nvPicPr>
            <p:cNvPr id="23" name="Graphic 22" descr="Vergrootglas silhouet">
              <a:extLst>
                <a:ext uri="{FF2B5EF4-FFF2-40B4-BE49-F238E27FC236}">
                  <a16:creationId xmlns:a16="http://schemas.microsoft.com/office/drawing/2014/main" id="{1A07DF20-10CD-BB16-536A-4DD61595A2AD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127258" y="2868766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814824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ep 1">
            <a:extLst>
              <a:ext uri="{FF2B5EF4-FFF2-40B4-BE49-F238E27FC236}">
                <a16:creationId xmlns:a16="http://schemas.microsoft.com/office/drawing/2014/main" id="{5505ED18-8F1B-7C63-B30D-A17DE20A310D}"/>
              </a:ext>
            </a:extLst>
          </p:cNvPr>
          <p:cNvGrpSpPr>
            <a:grpSpLocks noChangeAspect="1"/>
          </p:cNvGrpSpPr>
          <p:nvPr/>
        </p:nvGrpSpPr>
        <p:grpSpPr>
          <a:xfrm>
            <a:off x="3556279" y="1367742"/>
            <a:ext cx="5079442" cy="4122516"/>
            <a:chOff x="834954" y="2463858"/>
            <a:chExt cx="2752829" cy="2234218"/>
          </a:xfrm>
        </p:grpSpPr>
        <p:grpSp>
          <p:nvGrpSpPr>
            <p:cNvPr id="3" name="local authorities">
              <a:extLst>
                <a:ext uri="{FF2B5EF4-FFF2-40B4-BE49-F238E27FC236}">
                  <a16:creationId xmlns:a16="http://schemas.microsoft.com/office/drawing/2014/main" id="{436E7AB3-18DF-6186-0E8F-E5F137AE7091}"/>
                </a:ext>
              </a:extLst>
            </p:cNvPr>
            <p:cNvGrpSpPr/>
            <p:nvPr/>
          </p:nvGrpSpPr>
          <p:grpSpPr>
            <a:xfrm>
              <a:off x="834954" y="2463858"/>
              <a:ext cx="2752829" cy="2234218"/>
              <a:chOff x="5094598" y="1131327"/>
              <a:chExt cx="2752829" cy="2234218"/>
            </a:xfrm>
          </p:grpSpPr>
          <p:sp>
            <p:nvSpPr>
              <p:cNvPr id="5" name="Oval 3">
                <a:extLst>
                  <a:ext uri="{FF2B5EF4-FFF2-40B4-BE49-F238E27FC236}">
                    <a16:creationId xmlns:a16="http://schemas.microsoft.com/office/drawing/2014/main" id="{05D59295-86EE-ED8D-ED2F-BBA56003D85F}"/>
                  </a:ext>
                </a:extLst>
              </p:cNvPr>
              <p:cNvSpPr/>
              <p:nvPr/>
            </p:nvSpPr>
            <p:spPr>
              <a:xfrm>
                <a:off x="5768845" y="1131327"/>
                <a:ext cx="1505798" cy="1505798"/>
              </a:xfrm>
              <a:prstGeom prst="ellipse">
                <a:avLst/>
              </a:prstGeom>
              <a:solidFill>
                <a:schemeClr val="accent1"/>
              </a:solidFill>
              <a:ln>
                <a:solidFill>
                  <a:schemeClr val="tx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B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landersArtSerif-Regular"/>
                  <a:ea typeface="+mn-ea"/>
                  <a:cs typeface="+mn-cs"/>
                </a:endParaRPr>
              </a:p>
            </p:txBody>
          </p:sp>
          <p:sp>
            <p:nvSpPr>
              <p:cNvPr id="6" name="main-info-over-GN">
                <a:extLst>
                  <a:ext uri="{FF2B5EF4-FFF2-40B4-BE49-F238E27FC236}">
                    <a16:creationId xmlns:a16="http://schemas.microsoft.com/office/drawing/2014/main" id="{8FC38B9C-A38B-4E51-8024-2EBAD560B752}"/>
                  </a:ext>
                </a:extLst>
              </p:cNvPr>
              <p:cNvSpPr/>
              <p:nvPr/>
            </p:nvSpPr>
            <p:spPr>
              <a:xfrm>
                <a:off x="5094598" y="2031327"/>
                <a:ext cx="2752829" cy="133421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2">
                    <a:lumMod val="20000"/>
                    <a:lumOff val="80000"/>
                  </a:schemeClr>
                </a:solidFill>
              </a:ln>
              <a:effectLst>
                <a:outerShdw blurRad="63500" sx="102000" sy="102000" algn="ctr" rotWithShape="0">
                  <a:schemeClr val="accent5">
                    <a:lumMod val="60000"/>
                    <a:lumOff val="40000"/>
                    <a:alpha val="4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51999" tIns="45720" rIns="91440" bIns="45720" rtlCol="0" anchor="ctr"/>
              <a:lstStyle/>
              <a:p>
                <a:pPr algn="ctr"/>
                <a:r>
                  <a:rPr lang="nl-NL" sz="3600" kern="1200">
                    <a:solidFill>
                      <a:srgbClr val="6B6B6B"/>
                    </a:solidFill>
                    <a:latin typeface="FlandersArtSerif-Regular"/>
                  </a:rPr>
                  <a:t>Basic set up data </a:t>
                </a:r>
                <a:r>
                  <a:rPr lang="nl-NL" sz="3600" kern="1200" err="1">
                    <a:solidFill>
                      <a:srgbClr val="6B6B6B"/>
                    </a:solidFill>
                    <a:latin typeface="FlandersArtSerif-Regular"/>
                  </a:rPr>
                  <a:t>space</a:t>
                </a:r>
                <a:endParaRPr lang="nl-NL" sz="3600" kern="1200">
                  <a:solidFill>
                    <a:srgbClr val="6B6B6B"/>
                  </a:solidFill>
                  <a:latin typeface="FlandersArtSerif-Regular"/>
                </a:endParaRPr>
              </a:p>
              <a:p>
                <a:pPr algn="ctr"/>
                <a:r>
                  <a:rPr lang="nl-NL" sz="3600" kern="1200">
                    <a:solidFill>
                      <a:srgbClr val="6B6B6B"/>
                    </a:solidFill>
                    <a:latin typeface="FlandersArtSerif-Regular"/>
                  </a:rPr>
                  <a:t>UC0</a:t>
                </a:r>
              </a:p>
            </p:txBody>
          </p:sp>
        </p:grpSp>
        <p:pic>
          <p:nvPicPr>
            <p:cNvPr id="4" name="Graphic 3" descr="Netwerk silhouet">
              <a:extLst>
                <a:ext uri="{FF2B5EF4-FFF2-40B4-BE49-F238E27FC236}">
                  <a16:creationId xmlns:a16="http://schemas.microsoft.com/office/drawing/2014/main" id="{CA2BADD6-8150-8CDE-F096-B12E5C9C1D28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p:blipFill>
          <p:spPr>
            <a:xfrm>
              <a:off x="1804900" y="2550519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9103041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4E76A3-D5BD-DFF1-5169-506FD64C15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F9082031-83D8-E4B6-39C3-7C974246A5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/>
              <a:t>Conversion &amp; </a:t>
            </a:r>
            <a:r>
              <a:rPr lang="nl-BE" err="1"/>
              <a:t>integration</a:t>
            </a:r>
            <a:r>
              <a:rPr lang="nl-BE"/>
              <a:t> </a:t>
            </a:r>
            <a:r>
              <a:rPr lang="nl-BE" err="1"/>
              <a:t>pipelines</a:t>
            </a:r>
            <a:r>
              <a:rPr lang="nl-BE"/>
              <a:t> </a:t>
            </a:r>
            <a:r>
              <a:rPr lang="nl-BE" err="1"/>
              <a:t>for</a:t>
            </a:r>
            <a:r>
              <a:rPr lang="nl-BE"/>
              <a:t> LD&amp;L </a:t>
            </a:r>
            <a:r>
              <a:rPr lang="nl-BE" err="1"/>
              <a:t>to</a:t>
            </a:r>
            <a:r>
              <a:rPr lang="nl-BE"/>
              <a:t> ELI</a:t>
            </a:r>
          </a:p>
        </p:txBody>
      </p:sp>
      <p:sp>
        <p:nvSpPr>
          <p:cNvPr id="14" name="Ovaal 13">
            <a:extLst>
              <a:ext uri="{FF2B5EF4-FFF2-40B4-BE49-F238E27FC236}">
                <a16:creationId xmlns:a16="http://schemas.microsoft.com/office/drawing/2014/main" id="{17DDA23E-6ABC-C559-5FEC-E8F9D11B5C8F}"/>
              </a:ext>
            </a:extLst>
          </p:cNvPr>
          <p:cNvSpPr/>
          <p:nvPr/>
        </p:nvSpPr>
        <p:spPr>
          <a:xfrm>
            <a:off x="429377" y="3054696"/>
            <a:ext cx="1512000" cy="1512000"/>
          </a:xfrm>
          <a:prstGeom prst="ellipse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400">
                <a:solidFill>
                  <a:schemeClr val="tx1"/>
                </a:solidFill>
              </a:rPr>
              <a:t>DATA PROVIDER</a:t>
            </a:r>
          </a:p>
        </p:txBody>
      </p:sp>
      <p:sp>
        <p:nvSpPr>
          <p:cNvPr id="2" name="Rechthoek 1">
            <a:extLst>
              <a:ext uri="{FF2B5EF4-FFF2-40B4-BE49-F238E27FC236}">
                <a16:creationId xmlns:a16="http://schemas.microsoft.com/office/drawing/2014/main" id="{2C3409BC-34E7-671B-E547-0B2B5B2BD1D0}"/>
              </a:ext>
            </a:extLst>
          </p:cNvPr>
          <p:cNvSpPr/>
          <p:nvPr/>
        </p:nvSpPr>
        <p:spPr>
          <a:xfrm>
            <a:off x="2486526" y="1989221"/>
            <a:ext cx="1540042" cy="49730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err="1">
                <a:solidFill>
                  <a:schemeClr val="tx1"/>
                </a:solidFill>
              </a:rPr>
              <a:t>Flanders</a:t>
            </a:r>
            <a:endParaRPr lang="nl-BE">
              <a:solidFill>
                <a:schemeClr val="tx1"/>
              </a:solidFill>
            </a:endParaRP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AC574C22-A8C8-4FF1-A05E-1EC82BD3291C}"/>
              </a:ext>
            </a:extLst>
          </p:cNvPr>
          <p:cNvSpPr/>
          <p:nvPr/>
        </p:nvSpPr>
        <p:spPr>
          <a:xfrm>
            <a:off x="2486526" y="2743199"/>
            <a:ext cx="1540042" cy="49730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err="1">
                <a:solidFill>
                  <a:schemeClr val="tx1"/>
                </a:solidFill>
              </a:rPr>
              <a:t>Ghent</a:t>
            </a:r>
            <a:endParaRPr lang="nl-BE">
              <a:solidFill>
                <a:schemeClr val="tx1"/>
              </a:solidFill>
            </a:endParaRPr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8D5ECBBC-FFA1-B7EF-80B1-D1183F75D5F8}"/>
              </a:ext>
            </a:extLst>
          </p:cNvPr>
          <p:cNvSpPr/>
          <p:nvPr/>
        </p:nvSpPr>
        <p:spPr>
          <a:xfrm>
            <a:off x="2486526" y="4069391"/>
            <a:ext cx="1540042" cy="49730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>
                <a:solidFill>
                  <a:schemeClr val="tx1"/>
                </a:solidFill>
              </a:rPr>
              <a:t>Freiburg</a:t>
            </a:r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6C70B793-0292-A08D-ADF3-D4E209B07157}"/>
              </a:ext>
            </a:extLst>
          </p:cNvPr>
          <p:cNvSpPr/>
          <p:nvPr/>
        </p:nvSpPr>
        <p:spPr>
          <a:xfrm>
            <a:off x="2486526" y="5454447"/>
            <a:ext cx="1540042" cy="49730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>
                <a:solidFill>
                  <a:schemeClr val="tx1"/>
                </a:solidFill>
              </a:rPr>
              <a:t>Bamberg</a:t>
            </a:r>
          </a:p>
        </p:txBody>
      </p:sp>
      <p:sp>
        <p:nvSpPr>
          <p:cNvPr id="16" name="Rechthoek: afgeronde hoeken 15">
            <a:extLst>
              <a:ext uri="{FF2B5EF4-FFF2-40B4-BE49-F238E27FC236}">
                <a16:creationId xmlns:a16="http://schemas.microsoft.com/office/drawing/2014/main" id="{562DD79B-4E1F-9142-37B6-B98BF8C1586F}"/>
              </a:ext>
            </a:extLst>
          </p:cNvPr>
          <p:cNvSpPr/>
          <p:nvPr/>
        </p:nvSpPr>
        <p:spPr>
          <a:xfrm>
            <a:off x="4672266" y="2335856"/>
            <a:ext cx="2562721" cy="532851"/>
          </a:xfrm>
          <a:prstGeom prst="roundRect">
            <a:avLst/>
          </a:prstGeom>
          <a:noFill/>
          <a:ln>
            <a:solidFill>
              <a:srgbClr val="2A919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>
                <a:solidFill>
                  <a:schemeClr val="tx1"/>
                </a:solidFill>
              </a:rPr>
              <a:t>LD&amp;L = </a:t>
            </a:r>
            <a:r>
              <a:rPr lang="nl-BE" err="1">
                <a:solidFill>
                  <a:schemeClr val="tx1"/>
                </a:solidFill>
              </a:rPr>
              <a:t>RDFa</a:t>
            </a:r>
            <a:r>
              <a:rPr lang="nl-BE">
                <a:solidFill>
                  <a:schemeClr val="tx1"/>
                </a:solidFill>
              </a:rPr>
              <a:t> OSLO</a:t>
            </a:r>
          </a:p>
          <a:p>
            <a:pPr algn="ctr"/>
            <a:r>
              <a:rPr lang="nl-BE" sz="1200">
                <a:solidFill>
                  <a:schemeClr val="tx1"/>
                </a:solidFill>
              </a:rPr>
              <a:t>(</a:t>
            </a:r>
            <a:r>
              <a:rPr lang="nl-BE" sz="1200" err="1">
                <a:solidFill>
                  <a:schemeClr val="tx1"/>
                </a:solidFill>
              </a:rPr>
              <a:t>Flemish</a:t>
            </a:r>
            <a:r>
              <a:rPr lang="nl-BE" sz="1200">
                <a:solidFill>
                  <a:schemeClr val="tx1"/>
                </a:solidFill>
              </a:rPr>
              <a:t> LOD standard)</a:t>
            </a:r>
          </a:p>
        </p:txBody>
      </p:sp>
      <p:cxnSp>
        <p:nvCxnSpPr>
          <p:cNvPr id="18" name="Rechte verbindingslijn met pijl 17">
            <a:extLst>
              <a:ext uri="{FF2B5EF4-FFF2-40B4-BE49-F238E27FC236}">
                <a16:creationId xmlns:a16="http://schemas.microsoft.com/office/drawing/2014/main" id="{FD16ED7C-3CE2-255C-FD7A-650605685240}"/>
              </a:ext>
            </a:extLst>
          </p:cNvPr>
          <p:cNvCxnSpPr>
            <a:cxnSpLocks/>
            <a:stCxn id="16" idx="3"/>
          </p:cNvCxnSpPr>
          <p:nvPr/>
        </p:nvCxnSpPr>
        <p:spPr>
          <a:xfrm>
            <a:off x="7234987" y="2602282"/>
            <a:ext cx="2109537" cy="1467109"/>
          </a:xfrm>
          <a:prstGeom prst="straightConnector1">
            <a:avLst/>
          </a:prstGeom>
          <a:ln>
            <a:solidFill>
              <a:srgbClr val="2A919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hoek 20">
            <a:extLst>
              <a:ext uri="{FF2B5EF4-FFF2-40B4-BE49-F238E27FC236}">
                <a16:creationId xmlns:a16="http://schemas.microsoft.com/office/drawing/2014/main" id="{C87ED7FC-1E60-F2E9-C578-C86A0366749A}"/>
              </a:ext>
            </a:extLst>
          </p:cNvPr>
          <p:cNvSpPr/>
          <p:nvPr/>
        </p:nvSpPr>
        <p:spPr>
          <a:xfrm rot="2052360">
            <a:off x="7550670" y="2871860"/>
            <a:ext cx="1540042" cy="4973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err="1">
                <a:solidFill>
                  <a:srgbClr val="2A9196"/>
                </a:solidFill>
              </a:rPr>
              <a:t>Mapping</a:t>
            </a:r>
            <a:endParaRPr lang="nl-BE">
              <a:solidFill>
                <a:srgbClr val="2A9196"/>
              </a:solidFill>
            </a:endParaRPr>
          </a:p>
        </p:txBody>
      </p:sp>
      <p:sp>
        <p:nvSpPr>
          <p:cNvPr id="22" name="Rechteraccolade 21">
            <a:extLst>
              <a:ext uri="{FF2B5EF4-FFF2-40B4-BE49-F238E27FC236}">
                <a16:creationId xmlns:a16="http://schemas.microsoft.com/office/drawing/2014/main" id="{64D6C1F7-54D0-F8C1-7368-3FD3176AB00F}"/>
              </a:ext>
            </a:extLst>
          </p:cNvPr>
          <p:cNvSpPr/>
          <p:nvPr/>
        </p:nvSpPr>
        <p:spPr>
          <a:xfrm>
            <a:off x="3984457" y="1909010"/>
            <a:ext cx="378714" cy="139165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5" name="Rechthoek: afgeronde hoeken 24">
            <a:extLst>
              <a:ext uri="{FF2B5EF4-FFF2-40B4-BE49-F238E27FC236}">
                <a16:creationId xmlns:a16="http://schemas.microsoft.com/office/drawing/2014/main" id="{3D9E7967-4444-651E-1BDC-FAAA85EFCCC6}"/>
              </a:ext>
            </a:extLst>
          </p:cNvPr>
          <p:cNvSpPr/>
          <p:nvPr/>
        </p:nvSpPr>
        <p:spPr>
          <a:xfrm>
            <a:off x="4672266" y="4033800"/>
            <a:ext cx="2562721" cy="532851"/>
          </a:xfrm>
          <a:prstGeom prst="roundRect">
            <a:avLst/>
          </a:prstGeom>
          <a:noFill/>
          <a:ln>
            <a:solidFill>
              <a:srgbClr val="2A919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>
                <a:solidFill>
                  <a:schemeClr val="tx1"/>
                </a:solidFill>
              </a:rPr>
              <a:t>LD&amp;L = </a:t>
            </a:r>
            <a:r>
              <a:rPr lang="nl-BE" err="1">
                <a:solidFill>
                  <a:schemeClr val="tx1"/>
                </a:solidFill>
              </a:rPr>
              <a:t>Oparl</a:t>
            </a:r>
            <a:r>
              <a:rPr lang="nl-BE">
                <a:solidFill>
                  <a:schemeClr val="tx1"/>
                </a:solidFill>
              </a:rPr>
              <a:t> JSON-API</a:t>
            </a:r>
          </a:p>
          <a:p>
            <a:pPr algn="ctr"/>
            <a:r>
              <a:rPr lang="nl-BE" sz="1200">
                <a:solidFill>
                  <a:schemeClr val="tx1"/>
                </a:solidFill>
              </a:rPr>
              <a:t>(</a:t>
            </a:r>
            <a:r>
              <a:rPr lang="nl-BE" sz="1200" err="1">
                <a:solidFill>
                  <a:schemeClr val="tx1"/>
                </a:solidFill>
              </a:rPr>
              <a:t>German</a:t>
            </a:r>
            <a:r>
              <a:rPr lang="nl-BE" sz="1200">
                <a:solidFill>
                  <a:schemeClr val="tx1"/>
                </a:solidFill>
              </a:rPr>
              <a:t> standard)</a:t>
            </a:r>
          </a:p>
        </p:txBody>
      </p:sp>
      <p:sp>
        <p:nvSpPr>
          <p:cNvPr id="26" name="Rechthoek: afgeronde hoeken 25">
            <a:extLst>
              <a:ext uri="{FF2B5EF4-FFF2-40B4-BE49-F238E27FC236}">
                <a16:creationId xmlns:a16="http://schemas.microsoft.com/office/drawing/2014/main" id="{CCE691E6-239B-D870-D7AD-1D46D37C6895}"/>
              </a:ext>
            </a:extLst>
          </p:cNvPr>
          <p:cNvSpPr/>
          <p:nvPr/>
        </p:nvSpPr>
        <p:spPr>
          <a:xfrm>
            <a:off x="9368871" y="3661701"/>
            <a:ext cx="2562721" cy="1277048"/>
          </a:xfrm>
          <a:prstGeom prst="roundRect">
            <a:avLst/>
          </a:prstGeom>
          <a:noFill/>
          <a:ln>
            <a:solidFill>
              <a:srgbClr val="2A919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dirty="0">
                <a:solidFill>
                  <a:schemeClr val="tx1"/>
                </a:solidFill>
              </a:rPr>
              <a:t>LD&amp;L as ELI + Named entity recognition +linking</a:t>
            </a:r>
          </a:p>
          <a:p>
            <a:pPr algn="ctr"/>
            <a:r>
              <a:rPr lang="nl-BE" sz="1200" dirty="0">
                <a:solidFill>
                  <a:schemeClr val="tx1"/>
                </a:solidFill>
              </a:rPr>
              <a:t>(European LOD standard)</a:t>
            </a:r>
          </a:p>
        </p:txBody>
      </p:sp>
      <p:cxnSp>
        <p:nvCxnSpPr>
          <p:cNvPr id="27" name="Rechte verbindingslijn met pijl 26">
            <a:extLst>
              <a:ext uri="{FF2B5EF4-FFF2-40B4-BE49-F238E27FC236}">
                <a16:creationId xmlns:a16="http://schemas.microsoft.com/office/drawing/2014/main" id="{ACDFDFE8-492D-FCAB-819B-C771AC866F28}"/>
              </a:ext>
            </a:extLst>
          </p:cNvPr>
          <p:cNvCxnSpPr>
            <a:cxnSpLocks/>
            <a:stCxn id="25" idx="3"/>
            <a:endCxn id="26" idx="1"/>
          </p:cNvCxnSpPr>
          <p:nvPr/>
        </p:nvCxnSpPr>
        <p:spPr>
          <a:xfrm flipV="1">
            <a:off x="7234987" y="4300225"/>
            <a:ext cx="2133884" cy="1"/>
          </a:xfrm>
          <a:prstGeom prst="straightConnector1">
            <a:avLst/>
          </a:prstGeom>
          <a:ln>
            <a:solidFill>
              <a:srgbClr val="2A919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hthoek 27">
            <a:extLst>
              <a:ext uri="{FF2B5EF4-FFF2-40B4-BE49-F238E27FC236}">
                <a16:creationId xmlns:a16="http://schemas.microsoft.com/office/drawing/2014/main" id="{BFDFF910-014D-E99D-8509-81F77C132083}"/>
              </a:ext>
            </a:extLst>
          </p:cNvPr>
          <p:cNvSpPr/>
          <p:nvPr/>
        </p:nvSpPr>
        <p:spPr>
          <a:xfrm>
            <a:off x="7519735" y="3867089"/>
            <a:ext cx="1540042" cy="4973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err="1">
                <a:solidFill>
                  <a:srgbClr val="2A9196"/>
                </a:solidFill>
              </a:rPr>
              <a:t>Mapping</a:t>
            </a:r>
            <a:endParaRPr lang="nl-BE">
              <a:solidFill>
                <a:srgbClr val="2A9196"/>
              </a:solidFill>
            </a:endParaRPr>
          </a:p>
        </p:txBody>
      </p:sp>
      <p:sp>
        <p:nvSpPr>
          <p:cNvPr id="33" name="Rechthoek: afgeronde hoeken 32">
            <a:extLst>
              <a:ext uri="{FF2B5EF4-FFF2-40B4-BE49-F238E27FC236}">
                <a16:creationId xmlns:a16="http://schemas.microsoft.com/office/drawing/2014/main" id="{66CFB560-870C-319A-3104-04F9D4376658}"/>
              </a:ext>
            </a:extLst>
          </p:cNvPr>
          <p:cNvSpPr/>
          <p:nvPr/>
        </p:nvSpPr>
        <p:spPr>
          <a:xfrm>
            <a:off x="4672266" y="5418901"/>
            <a:ext cx="2562721" cy="532851"/>
          </a:xfrm>
          <a:prstGeom prst="roundRect">
            <a:avLst/>
          </a:prstGeom>
          <a:noFill/>
          <a:ln>
            <a:solidFill>
              <a:srgbClr val="2A919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>
                <a:solidFill>
                  <a:schemeClr val="tx1"/>
                </a:solidFill>
              </a:rPr>
              <a:t>LD&amp;L = PDF/HTML</a:t>
            </a:r>
          </a:p>
          <a:p>
            <a:pPr algn="ctr"/>
            <a:r>
              <a:rPr lang="nl-BE" sz="1200">
                <a:solidFill>
                  <a:schemeClr val="tx1"/>
                </a:solidFill>
              </a:rPr>
              <a:t>(no standard)</a:t>
            </a:r>
          </a:p>
        </p:txBody>
      </p:sp>
      <p:cxnSp>
        <p:nvCxnSpPr>
          <p:cNvPr id="35" name="Rechte verbindingslijn met pijl 34">
            <a:extLst>
              <a:ext uri="{FF2B5EF4-FFF2-40B4-BE49-F238E27FC236}">
                <a16:creationId xmlns:a16="http://schemas.microsoft.com/office/drawing/2014/main" id="{F169EE7A-A543-F2A8-BEF6-4D9B809DACCD}"/>
              </a:ext>
            </a:extLst>
          </p:cNvPr>
          <p:cNvCxnSpPr>
            <a:cxnSpLocks/>
            <a:stCxn id="33" idx="3"/>
          </p:cNvCxnSpPr>
          <p:nvPr/>
        </p:nvCxnSpPr>
        <p:spPr>
          <a:xfrm flipV="1">
            <a:off x="7234987" y="4566651"/>
            <a:ext cx="2109537" cy="1118676"/>
          </a:xfrm>
          <a:prstGeom prst="straightConnector1">
            <a:avLst/>
          </a:prstGeom>
          <a:ln>
            <a:solidFill>
              <a:srgbClr val="2A919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hthoek 35">
            <a:extLst>
              <a:ext uri="{FF2B5EF4-FFF2-40B4-BE49-F238E27FC236}">
                <a16:creationId xmlns:a16="http://schemas.microsoft.com/office/drawing/2014/main" id="{6450566D-E35B-58FD-37CB-733E6FC89894}"/>
              </a:ext>
            </a:extLst>
          </p:cNvPr>
          <p:cNvSpPr/>
          <p:nvPr/>
        </p:nvSpPr>
        <p:spPr>
          <a:xfrm rot="19893831">
            <a:off x="7519735" y="5043644"/>
            <a:ext cx="1540042" cy="4973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err="1">
                <a:solidFill>
                  <a:srgbClr val="2A9196"/>
                </a:solidFill>
              </a:rPr>
              <a:t>Scraping</a:t>
            </a:r>
            <a:r>
              <a:rPr lang="nl-BE">
                <a:solidFill>
                  <a:srgbClr val="2A9196"/>
                </a:solidFill>
              </a:rPr>
              <a:t> </a:t>
            </a:r>
            <a:r>
              <a:rPr lang="nl-BE" b="1">
                <a:solidFill>
                  <a:srgbClr val="FF0000"/>
                </a:solidFill>
              </a:rPr>
              <a:t>AI</a:t>
            </a:r>
          </a:p>
        </p:txBody>
      </p:sp>
    </p:spTree>
    <p:extLst>
      <p:ext uri="{BB962C8B-B14F-4D97-AF65-F5344CB8AC3E}">
        <p14:creationId xmlns:p14="http://schemas.microsoft.com/office/powerpoint/2010/main" val="38237767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099A62-D351-9938-00E4-0E5EB5A711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ep 6">
            <a:extLst>
              <a:ext uri="{FF2B5EF4-FFF2-40B4-BE49-F238E27FC236}">
                <a16:creationId xmlns:a16="http://schemas.microsoft.com/office/drawing/2014/main" id="{8AD4923F-26C5-EF89-DC93-A9A02A9C3FBA}"/>
              </a:ext>
            </a:extLst>
          </p:cNvPr>
          <p:cNvGrpSpPr>
            <a:grpSpLocks noChangeAspect="1"/>
          </p:cNvGrpSpPr>
          <p:nvPr/>
        </p:nvGrpSpPr>
        <p:grpSpPr>
          <a:xfrm>
            <a:off x="3556279" y="1367742"/>
            <a:ext cx="5079442" cy="4122516"/>
            <a:chOff x="1773620" y="3561537"/>
            <a:chExt cx="2752829" cy="2234218"/>
          </a:xfrm>
        </p:grpSpPr>
        <p:grpSp>
          <p:nvGrpSpPr>
            <p:cNvPr id="8" name="local authorities">
              <a:extLst>
                <a:ext uri="{FF2B5EF4-FFF2-40B4-BE49-F238E27FC236}">
                  <a16:creationId xmlns:a16="http://schemas.microsoft.com/office/drawing/2014/main" id="{7D74A205-D21C-D50A-8796-13F2EC8C10B0}"/>
                </a:ext>
              </a:extLst>
            </p:cNvPr>
            <p:cNvGrpSpPr/>
            <p:nvPr/>
          </p:nvGrpSpPr>
          <p:grpSpPr>
            <a:xfrm>
              <a:off x="1773620" y="3561537"/>
              <a:ext cx="2752829" cy="2234218"/>
              <a:chOff x="5094598" y="1131327"/>
              <a:chExt cx="2752829" cy="2234218"/>
            </a:xfrm>
          </p:grpSpPr>
          <p:sp>
            <p:nvSpPr>
              <p:cNvPr id="10" name="Oval 3">
                <a:extLst>
                  <a:ext uri="{FF2B5EF4-FFF2-40B4-BE49-F238E27FC236}">
                    <a16:creationId xmlns:a16="http://schemas.microsoft.com/office/drawing/2014/main" id="{7B9C2E98-39D4-7BE5-3BED-8D70DAF3EAC7}"/>
                  </a:ext>
                </a:extLst>
              </p:cNvPr>
              <p:cNvSpPr/>
              <p:nvPr/>
            </p:nvSpPr>
            <p:spPr>
              <a:xfrm>
                <a:off x="5768845" y="1131327"/>
                <a:ext cx="1505798" cy="1505798"/>
              </a:xfrm>
              <a:prstGeom prst="ellipse">
                <a:avLst/>
              </a:prstGeom>
              <a:solidFill>
                <a:schemeClr val="accent1"/>
              </a:solidFill>
              <a:ln>
                <a:solidFill>
                  <a:schemeClr val="tx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B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landersArtSerif-Regular"/>
                  <a:ea typeface="+mn-ea"/>
                  <a:cs typeface="+mn-cs"/>
                </a:endParaRPr>
              </a:p>
            </p:txBody>
          </p:sp>
          <p:sp>
            <p:nvSpPr>
              <p:cNvPr id="11" name="main-info-over-GN">
                <a:extLst>
                  <a:ext uri="{FF2B5EF4-FFF2-40B4-BE49-F238E27FC236}">
                    <a16:creationId xmlns:a16="http://schemas.microsoft.com/office/drawing/2014/main" id="{D75044C9-36F6-D0BC-53D3-377359C32E34}"/>
                  </a:ext>
                </a:extLst>
              </p:cNvPr>
              <p:cNvSpPr/>
              <p:nvPr/>
            </p:nvSpPr>
            <p:spPr>
              <a:xfrm>
                <a:off x="5094598" y="2031327"/>
                <a:ext cx="2752829" cy="133421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2">
                    <a:lumMod val="20000"/>
                    <a:lumOff val="80000"/>
                  </a:schemeClr>
                </a:solidFill>
              </a:ln>
              <a:effectLst>
                <a:outerShdw blurRad="63500" sx="102000" sy="102000" algn="ctr" rotWithShape="0">
                  <a:schemeClr val="accent5">
                    <a:lumMod val="60000"/>
                    <a:lumOff val="40000"/>
                    <a:alpha val="4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51999" tIns="45720" rIns="91440" bIns="45720" rtlCol="0" anchor="ctr"/>
              <a:lstStyle/>
              <a:p>
                <a:pPr algn="ctr"/>
                <a:r>
                  <a:rPr lang="nl-NL" sz="3600" kern="1200">
                    <a:solidFill>
                      <a:srgbClr val="6B6B6B"/>
                    </a:solidFill>
                    <a:latin typeface="FlandersArtSerif-Regular"/>
                  </a:rPr>
                  <a:t>Policy impact report</a:t>
                </a:r>
              </a:p>
              <a:p>
                <a:pPr algn="ctr"/>
                <a:r>
                  <a:rPr lang="nl-NL" sz="3600" kern="1200">
                    <a:solidFill>
                      <a:srgbClr val="6B6B6B"/>
                    </a:solidFill>
                    <a:latin typeface="FlandersArtSerif-Regular"/>
                  </a:rPr>
                  <a:t>UC0.1</a:t>
                </a:r>
                <a:endParaRPr lang="nl-BE" sz="3600" kern="1200">
                  <a:solidFill>
                    <a:srgbClr val="6B6B6B"/>
                  </a:solidFill>
                  <a:latin typeface="FlandersArtSerif-Regular"/>
                </a:endParaRPr>
              </a:p>
            </p:txBody>
          </p:sp>
        </p:grpSp>
        <p:pic>
          <p:nvPicPr>
            <p:cNvPr id="9" name="Graphic 8" descr="Presentatie met controlelijst silhouet">
              <a:extLst>
                <a:ext uri="{FF2B5EF4-FFF2-40B4-BE49-F238E27FC236}">
                  <a16:creationId xmlns:a16="http://schemas.microsoft.com/office/drawing/2014/main" id="{74386CCC-9989-0036-E05F-34BE50DDEAF1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p:blipFill>
          <p:spPr>
            <a:xfrm>
              <a:off x="2743566" y="3648626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0606443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F67661-A3CB-ECF1-4505-D0D53FE156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:a16="http://schemas.microsoft.com/office/drawing/2014/main" id="{13D7B8E4-EC7C-832C-3C2D-D853504519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0" y="533400"/>
            <a:ext cx="9144000" cy="5791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275804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FE5366-0CD0-6871-FCD8-9ACA7CEACE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9B75D1B2-9D51-80D3-A5C3-1083E85FA3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/>
              <a:t>Dashboard Policy Impact Report</a:t>
            </a:r>
          </a:p>
        </p:txBody>
      </p:sp>
      <p:pic>
        <p:nvPicPr>
          <p:cNvPr id="5" name="Afbeelding 4" descr="Afbeelding met tekst, schermopname, diagram, Lettertype&#10;&#10;Door AI gegenereerde inhoud is mogelijk onjuist.">
            <a:extLst>
              <a:ext uri="{FF2B5EF4-FFF2-40B4-BE49-F238E27FC236}">
                <a16:creationId xmlns:a16="http://schemas.microsoft.com/office/drawing/2014/main" id="{EDA1D6AD-8E56-D411-6B1F-60EC623BAE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0394" y="1661877"/>
            <a:ext cx="8688012" cy="6611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169810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3F97E1-9D25-B966-CB2C-C538299762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ep 11">
            <a:extLst>
              <a:ext uri="{FF2B5EF4-FFF2-40B4-BE49-F238E27FC236}">
                <a16:creationId xmlns:a16="http://schemas.microsoft.com/office/drawing/2014/main" id="{3A6A841E-892A-02D0-0A52-48B6FA33ABB8}"/>
              </a:ext>
            </a:extLst>
          </p:cNvPr>
          <p:cNvGrpSpPr>
            <a:grpSpLocks noChangeAspect="1"/>
          </p:cNvGrpSpPr>
          <p:nvPr/>
        </p:nvGrpSpPr>
        <p:grpSpPr>
          <a:xfrm>
            <a:off x="3556279" y="1367742"/>
            <a:ext cx="5079442" cy="4122516"/>
            <a:chOff x="3782541" y="1927487"/>
            <a:chExt cx="2752829" cy="2234218"/>
          </a:xfrm>
        </p:grpSpPr>
        <p:grpSp>
          <p:nvGrpSpPr>
            <p:cNvPr id="13" name="local authorities">
              <a:extLst>
                <a:ext uri="{FF2B5EF4-FFF2-40B4-BE49-F238E27FC236}">
                  <a16:creationId xmlns:a16="http://schemas.microsoft.com/office/drawing/2014/main" id="{FA7DFC5A-1E17-D1EE-415D-B6B6207777DD}"/>
                </a:ext>
              </a:extLst>
            </p:cNvPr>
            <p:cNvGrpSpPr/>
            <p:nvPr/>
          </p:nvGrpSpPr>
          <p:grpSpPr>
            <a:xfrm>
              <a:off x="3782541" y="1927487"/>
              <a:ext cx="2752829" cy="2234218"/>
              <a:chOff x="5094598" y="1131327"/>
              <a:chExt cx="2752829" cy="2234218"/>
            </a:xfrm>
          </p:grpSpPr>
          <p:sp>
            <p:nvSpPr>
              <p:cNvPr id="15" name="Oval 3">
                <a:extLst>
                  <a:ext uri="{FF2B5EF4-FFF2-40B4-BE49-F238E27FC236}">
                    <a16:creationId xmlns:a16="http://schemas.microsoft.com/office/drawing/2014/main" id="{352D4AB0-4546-E42D-E200-417500E704CA}"/>
                  </a:ext>
                </a:extLst>
              </p:cNvPr>
              <p:cNvSpPr/>
              <p:nvPr/>
            </p:nvSpPr>
            <p:spPr>
              <a:xfrm>
                <a:off x="5768845" y="1131327"/>
                <a:ext cx="1505798" cy="1505798"/>
              </a:xfrm>
              <a:prstGeom prst="ellipse">
                <a:avLst/>
              </a:prstGeom>
              <a:solidFill>
                <a:schemeClr val="accent1"/>
              </a:solidFill>
              <a:ln>
                <a:solidFill>
                  <a:schemeClr val="tx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B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landersArtSerif-Regular"/>
                  <a:ea typeface="+mn-ea"/>
                  <a:cs typeface="+mn-cs"/>
                </a:endParaRPr>
              </a:p>
            </p:txBody>
          </p:sp>
          <p:sp>
            <p:nvSpPr>
              <p:cNvPr id="16" name="main-info-over-GN">
                <a:extLst>
                  <a:ext uri="{FF2B5EF4-FFF2-40B4-BE49-F238E27FC236}">
                    <a16:creationId xmlns:a16="http://schemas.microsoft.com/office/drawing/2014/main" id="{4CE50639-8585-7F0F-C96B-F37ED3DC1A8E}"/>
                  </a:ext>
                </a:extLst>
              </p:cNvPr>
              <p:cNvSpPr/>
              <p:nvPr/>
            </p:nvSpPr>
            <p:spPr>
              <a:xfrm>
                <a:off x="5094598" y="2031327"/>
                <a:ext cx="2752829" cy="133421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2">
                    <a:lumMod val="20000"/>
                    <a:lumOff val="80000"/>
                  </a:schemeClr>
                </a:solidFill>
              </a:ln>
              <a:effectLst>
                <a:outerShdw blurRad="63500" sx="102000" sy="102000" algn="ctr" rotWithShape="0">
                  <a:schemeClr val="accent5">
                    <a:lumMod val="60000"/>
                    <a:lumOff val="40000"/>
                    <a:alpha val="4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51999" tIns="45720" rIns="91440" bIns="45720" rtlCol="0" anchor="ctr"/>
              <a:lstStyle/>
              <a:p>
                <a:pPr lvl="0" algn="ctr"/>
                <a:r>
                  <a:rPr lang="en-US" sz="3600" kern="1200">
                    <a:solidFill>
                      <a:srgbClr val="6B6B6B"/>
                    </a:solidFill>
                    <a:latin typeface="FlandersArtSerif-Regular"/>
                  </a:rPr>
                  <a:t>Mapping LD&amp;L on restricted mobility zones to geo-locations </a:t>
                </a:r>
              </a:p>
              <a:p>
                <a:pPr lvl="0" algn="ctr"/>
                <a:r>
                  <a:rPr lang="nl-NL" sz="3600" kern="1200">
                    <a:solidFill>
                      <a:srgbClr val="6B6B6B"/>
                    </a:solidFill>
                    <a:latin typeface="FlandersArtSerif-Regular"/>
                  </a:rPr>
                  <a:t>UC1</a:t>
                </a:r>
                <a:endParaRPr lang="nl-BE" sz="3600" kern="1200">
                  <a:solidFill>
                    <a:srgbClr val="6B6B6B"/>
                  </a:solidFill>
                  <a:latin typeface="FlandersArtSerif-Regular"/>
                </a:endParaRPr>
              </a:p>
            </p:txBody>
          </p:sp>
        </p:grpSp>
        <p:pic>
          <p:nvPicPr>
            <p:cNvPr id="14" name="Graphic 13" descr="Kaart met speld silhouet">
              <a:extLst>
                <a:ext uri="{FF2B5EF4-FFF2-40B4-BE49-F238E27FC236}">
                  <a16:creationId xmlns:a16="http://schemas.microsoft.com/office/drawing/2014/main" id="{759EE021-C273-13E7-ED35-7F2984B18422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p:blipFill>
          <p:spPr>
            <a:xfrm>
              <a:off x="4789956" y="2000553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4802576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615153-6566-B010-FF55-C2CB467BCE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map of a city&#10;&#10;AI-generated content may be incorrect.">
            <a:extLst>
              <a:ext uri="{FF2B5EF4-FFF2-40B4-BE49-F238E27FC236}">
                <a16:creationId xmlns:a16="http://schemas.microsoft.com/office/drawing/2014/main" id="{EE8A34F8-8BEA-B205-3194-C6880808ED1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8634" b="55654"/>
          <a:stretch/>
        </p:blipFill>
        <p:spPr>
          <a:xfrm>
            <a:off x="4121624" y="4096635"/>
            <a:ext cx="8070376" cy="2761365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68C913E-EEF3-0C84-C346-FC1A63E1AE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>
                <a:latin typeface="FlandersArtSans-Medium"/>
              </a:rPr>
              <a:t>Mapping LD&amp;L on restricted mobility zones to geo-locations for city portals</a:t>
            </a:r>
          </a:p>
        </p:txBody>
      </p:sp>
      <p:pic>
        <p:nvPicPr>
          <p:cNvPr id="9" name="Picture 8" descr="A group of children standing on a sign&#10;&#10;AI-generated content may be incorrect.">
            <a:extLst>
              <a:ext uri="{FF2B5EF4-FFF2-40B4-BE49-F238E27FC236}">
                <a16:creationId xmlns:a16="http://schemas.microsoft.com/office/drawing/2014/main" id="{6D50C4EA-A455-A6BA-B96A-665B2CB4F7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5032717" cy="6858000"/>
          </a:xfrm>
          <a:prstGeom prst="rect">
            <a:avLst/>
          </a:prstGeom>
        </p:spPr>
      </p:pic>
      <p:sp>
        <p:nvSpPr>
          <p:cNvPr id="17" name="Tijdelijke aanduiding voor tekst 2">
            <a:extLst>
              <a:ext uri="{FF2B5EF4-FFF2-40B4-BE49-F238E27FC236}">
                <a16:creationId xmlns:a16="http://schemas.microsoft.com/office/drawing/2014/main" id="{07F11690-7728-CF2B-7828-F30EDFFF46F4}"/>
              </a:ext>
            </a:extLst>
          </p:cNvPr>
          <p:cNvSpPr txBox="1">
            <a:spLocks/>
          </p:cNvSpPr>
          <p:nvPr/>
        </p:nvSpPr>
        <p:spPr>
          <a:xfrm>
            <a:off x="4868237" y="1800707"/>
            <a:ext cx="6992232" cy="281223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 err="1">
                <a:solidFill>
                  <a:prstClr val="black"/>
                </a:solidFill>
                <a:latin typeface="Flanders Art Sans"/>
              </a:rPr>
              <a:t>Car</a:t>
            </a:r>
            <a:r>
              <a:rPr lang="nl-NL" dirty="0">
                <a:solidFill>
                  <a:prstClr val="black"/>
                </a:solidFill>
                <a:latin typeface="Flanders Art Sans"/>
              </a:rPr>
              <a:t>(e) free </a:t>
            </a:r>
            <a:r>
              <a:rPr lang="nl-NL" dirty="0" err="1">
                <a:solidFill>
                  <a:prstClr val="black"/>
                </a:solidFill>
                <a:latin typeface="Flanders Art Sans"/>
              </a:rPr>
              <a:t>mobility</a:t>
            </a:r>
            <a:r>
              <a:rPr lang="nl-NL" dirty="0">
                <a:solidFill>
                  <a:prstClr val="black"/>
                </a:solidFill>
                <a:latin typeface="Flanders Art Sans"/>
              </a:rPr>
              <a:t>!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 err="1">
                <a:solidFill>
                  <a:prstClr val="black"/>
                </a:solidFill>
                <a:highlight>
                  <a:srgbClr val="FFEB00"/>
                </a:highlight>
                <a:latin typeface="Flanders Art Sans"/>
              </a:rPr>
              <a:t>F.e</a:t>
            </a:r>
            <a:r>
              <a:rPr lang="nl-NL" dirty="0">
                <a:solidFill>
                  <a:prstClr val="black"/>
                </a:solidFill>
                <a:highlight>
                  <a:srgbClr val="FFEB00"/>
                </a:highlight>
                <a:latin typeface="Flanders Art Sans"/>
              </a:rPr>
              <a:t>. </a:t>
            </a:r>
            <a:r>
              <a:rPr lang="nl-NL" dirty="0" err="1">
                <a:solidFill>
                  <a:prstClr val="black"/>
                </a:solidFill>
                <a:highlight>
                  <a:srgbClr val="FFEB00"/>
                </a:highlight>
                <a:latin typeface="Flanders Art Sans"/>
              </a:rPr>
              <a:t>cycling</a:t>
            </a:r>
            <a:r>
              <a:rPr lang="nl-NL" dirty="0">
                <a:solidFill>
                  <a:prstClr val="black"/>
                </a:solidFill>
                <a:highlight>
                  <a:srgbClr val="FFEB00"/>
                </a:highlight>
                <a:latin typeface="Flanders Art Sans"/>
              </a:rPr>
              <a:t> </a:t>
            </a:r>
            <a:r>
              <a:rPr lang="nl-NL" dirty="0" err="1">
                <a:solidFill>
                  <a:prstClr val="black"/>
                </a:solidFill>
                <a:highlight>
                  <a:srgbClr val="FFEB00"/>
                </a:highlight>
                <a:latin typeface="Flanders Art Sans"/>
              </a:rPr>
              <a:t>streets</a:t>
            </a:r>
            <a:r>
              <a:rPr lang="nl-NL" dirty="0">
                <a:solidFill>
                  <a:prstClr val="black"/>
                </a:solidFill>
                <a:highlight>
                  <a:srgbClr val="FFEB00"/>
                </a:highlight>
                <a:latin typeface="Flanders Art Sans"/>
              </a:rPr>
              <a:t>, </a:t>
            </a:r>
            <a:r>
              <a:rPr lang="nl-NL" dirty="0" err="1">
                <a:solidFill>
                  <a:prstClr val="black"/>
                </a:solidFill>
                <a:highlight>
                  <a:srgbClr val="FFEB00"/>
                </a:highlight>
                <a:latin typeface="Flanders Art Sans"/>
              </a:rPr>
              <a:t>play</a:t>
            </a:r>
            <a:r>
              <a:rPr lang="nl-NL" dirty="0">
                <a:solidFill>
                  <a:prstClr val="black"/>
                </a:solidFill>
                <a:highlight>
                  <a:srgbClr val="FFEB00"/>
                </a:highlight>
                <a:latin typeface="Flanders Art Sans"/>
              </a:rPr>
              <a:t> </a:t>
            </a:r>
            <a:r>
              <a:rPr lang="nl-NL" dirty="0" err="1">
                <a:solidFill>
                  <a:prstClr val="black"/>
                </a:solidFill>
                <a:highlight>
                  <a:srgbClr val="FFEB00"/>
                </a:highlight>
                <a:latin typeface="Flanders Art Sans"/>
              </a:rPr>
              <a:t>streets</a:t>
            </a:r>
            <a:r>
              <a:rPr lang="nl-NL" dirty="0">
                <a:solidFill>
                  <a:prstClr val="black"/>
                </a:solidFill>
                <a:highlight>
                  <a:srgbClr val="FFEB00"/>
                </a:highlight>
                <a:latin typeface="Flanders Art Sans"/>
              </a:rPr>
              <a:t>, …</a:t>
            </a:r>
          </a:p>
        </p:txBody>
      </p:sp>
    </p:spTree>
    <p:extLst>
      <p:ext uri="{BB962C8B-B14F-4D97-AF65-F5344CB8AC3E}">
        <p14:creationId xmlns:p14="http://schemas.microsoft.com/office/powerpoint/2010/main" val="64074068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7D82A4-C434-98D5-A58D-F2E8D8A616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ep 1">
            <a:extLst>
              <a:ext uri="{FF2B5EF4-FFF2-40B4-BE49-F238E27FC236}">
                <a16:creationId xmlns:a16="http://schemas.microsoft.com/office/drawing/2014/main" id="{A7650023-29AC-A181-EA9D-C52C22228E46}"/>
              </a:ext>
            </a:extLst>
          </p:cNvPr>
          <p:cNvGrpSpPr>
            <a:grpSpLocks noChangeAspect="1"/>
          </p:cNvGrpSpPr>
          <p:nvPr/>
        </p:nvGrpSpPr>
        <p:grpSpPr>
          <a:xfrm>
            <a:off x="3556279" y="1367742"/>
            <a:ext cx="5079442" cy="4122516"/>
            <a:chOff x="7104629" y="2814860"/>
            <a:chExt cx="2752829" cy="2234218"/>
          </a:xfrm>
        </p:grpSpPr>
        <p:grpSp>
          <p:nvGrpSpPr>
            <p:cNvPr id="3" name="local authorities">
              <a:extLst>
                <a:ext uri="{FF2B5EF4-FFF2-40B4-BE49-F238E27FC236}">
                  <a16:creationId xmlns:a16="http://schemas.microsoft.com/office/drawing/2014/main" id="{A1C2DFCF-0C15-B4DE-63E2-6AFCD718584D}"/>
                </a:ext>
              </a:extLst>
            </p:cNvPr>
            <p:cNvGrpSpPr/>
            <p:nvPr/>
          </p:nvGrpSpPr>
          <p:grpSpPr>
            <a:xfrm>
              <a:off x="7104629" y="2814860"/>
              <a:ext cx="2752829" cy="2234218"/>
              <a:chOff x="5094598" y="1131327"/>
              <a:chExt cx="2752829" cy="2234218"/>
            </a:xfrm>
          </p:grpSpPr>
          <p:sp>
            <p:nvSpPr>
              <p:cNvPr id="5" name="Oval 3">
                <a:extLst>
                  <a:ext uri="{FF2B5EF4-FFF2-40B4-BE49-F238E27FC236}">
                    <a16:creationId xmlns:a16="http://schemas.microsoft.com/office/drawing/2014/main" id="{5DCD5567-1A74-C9F2-FF90-CA90C71A3519}"/>
                  </a:ext>
                </a:extLst>
              </p:cNvPr>
              <p:cNvSpPr/>
              <p:nvPr/>
            </p:nvSpPr>
            <p:spPr>
              <a:xfrm>
                <a:off x="5768845" y="1131327"/>
                <a:ext cx="1505798" cy="1505798"/>
              </a:xfrm>
              <a:prstGeom prst="ellipse">
                <a:avLst/>
              </a:prstGeom>
              <a:solidFill>
                <a:schemeClr val="accent1"/>
              </a:solidFill>
              <a:ln>
                <a:solidFill>
                  <a:schemeClr val="tx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B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landersArtSerif-Regular"/>
                  <a:ea typeface="+mn-ea"/>
                  <a:cs typeface="+mn-cs"/>
                </a:endParaRPr>
              </a:p>
            </p:txBody>
          </p:sp>
          <p:sp>
            <p:nvSpPr>
              <p:cNvPr id="6" name="main-info-over-GN">
                <a:extLst>
                  <a:ext uri="{FF2B5EF4-FFF2-40B4-BE49-F238E27FC236}">
                    <a16:creationId xmlns:a16="http://schemas.microsoft.com/office/drawing/2014/main" id="{7A4F76FE-C972-8E08-6716-D651A7C19F65}"/>
                  </a:ext>
                </a:extLst>
              </p:cNvPr>
              <p:cNvSpPr/>
              <p:nvPr/>
            </p:nvSpPr>
            <p:spPr>
              <a:xfrm>
                <a:off x="5094598" y="2031327"/>
                <a:ext cx="2752829" cy="133421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2">
                    <a:lumMod val="20000"/>
                    <a:lumOff val="80000"/>
                  </a:schemeClr>
                </a:solidFill>
              </a:ln>
              <a:effectLst>
                <a:outerShdw blurRad="63500" sx="102000" sy="102000" algn="ctr" rotWithShape="0">
                  <a:schemeClr val="accent5">
                    <a:lumMod val="60000"/>
                    <a:lumOff val="40000"/>
                    <a:alpha val="4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51999" tIns="45720" rIns="91440" bIns="45720" rtlCol="0" anchor="ctr"/>
              <a:lstStyle/>
              <a:p>
                <a:pPr lvl="0" algn="ctr"/>
                <a:r>
                  <a:rPr lang="nl-NL" sz="3600" kern="1200" dirty="0">
                    <a:solidFill>
                      <a:srgbClr val="6B6B6B"/>
                    </a:solidFill>
                    <a:latin typeface="FlandersArtSerif-Regular"/>
                  </a:rPr>
                  <a:t>SMART SEARCH </a:t>
                </a:r>
              </a:p>
              <a:p>
                <a:pPr lvl="0" algn="ctr"/>
                <a:r>
                  <a:rPr lang="nl-NL" sz="3600" kern="1200" dirty="0">
                    <a:solidFill>
                      <a:srgbClr val="6B6B6B"/>
                    </a:solidFill>
                    <a:latin typeface="FlandersArtSerif-Regular"/>
                  </a:rPr>
                  <a:t>UC2</a:t>
                </a:r>
                <a:endParaRPr lang="nl-BE" sz="3600" kern="1200" dirty="0">
                  <a:solidFill>
                    <a:srgbClr val="6B6B6B"/>
                  </a:solidFill>
                  <a:latin typeface="FlandersArtSerif-Regular"/>
                </a:endParaRPr>
              </a:p>
            </p:txBody>
          </p:sp>
        </p:grpSp>
        <p:pic>
          <p:nvPicPr>
            <p:cNvPr id="4" name="Graphic 3" descr="Vergrootglas silhouet">
              <a:extLst>
                <a:ext uri="{FF2B5EF4-FFF2-40B4-BE49-F238E27FC236}">
                  <a16:creationId xmlns:a16="http://schemas.microsoft.com/office/drawing/2014/main" id="{2A357618-2F70-3238-9A56-60366F6C40B6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p:blipFill>
          <p:spPr>
            <a:xfrm>
              <a:off x="8127258" y="2868766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191099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F045E28-3016-E645-9689-40F23EF278FB}"/>
              </a:ext>
            </a:extLst>
          </p:cNvPr>
          <p:cNvSpPr/>
          <p:nvPr/>
        </p:nvSpPr>
        <p:spPr>
          <a:xfrm>
            <a:off x="4069976" y="-87563"/>
            <a:ext cx="8444753" cy="24025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64C6304F-6372-6148-AF32-4D4504A2C417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36985" y="1577410"/>
            <a:ext cx="11123999" cy="8648473"/>
          </a:xfrm>
          <a:prstGeom prst="rect">
            <a:avLst/>
          </a:prstGeom>
        </p:spPr>
      </p:pic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E2B65F2D-52C1-FB4B-8C87-D514A955E394}"/>
              </a:ext>
            </a:extLst>
          </p:cNvPr>
          <p:cNvCxnSpPr>
            <a:cxnSpLocks/>
          </p:cNvCxnSpPr>
          <p:nvPr/>
        </p:nvCxnSpPr>
        <p:spPr>
          <a:xfrm>
            <a:off x="6234753" y="4120215"/>
            <a:ext cx="284580" cy="0"/>
          </a:xfrm>
          <a:prstGeom prst="line">
            <a:avLst/>
          </a:prstGeom>
          <a:ln w="254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>
            <a:extLst>
              <a:ext uri="{FF2B5EF4-FFF2-40B4-BE49-F238E27FC236}">
                <a16:creationId xmlns:a16="http://schemas.microsoft.com/office/drawing/2014/main" id="{86A7DDF5-DF40-9343-9675-4419C5A592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>
                <a:solidFill>
                  <a:schemeClr val="tx2"/>
                </a:solidFill>
              </a:rPr>
              <a:t>300 Local Authorities —</a:t>
            </a:r>
            <a:r>
              <a:rPr lang="en-US" sz="3200">
                <a:solidFill>
                  <a:srgbClr val="FF0000"/>
                </a:solidFill>
              </a:rPr>
              <a:t> </a:t>
            </a:r>
            <a:br>
              <a:rPr lang="en-US" sz="3200">
                <a:solidFill>
                  <a:schemeClr val="tx2"/>
                </a:solidFill>
              </a:rPr>
            </a:br>
            <a:r>
              <a:rPr lang="en-US" sz="3200">
                <a:solidFill>
                  <a:schemeClr val="tx2"/>
                </a:solidFill>
              </a:rPr>
              <a:t>A Wealth of Information in Decision Making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A4A91D89-A893-F944-8C1E-DE7EA144F44D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162994" y="2532650"/>
            <a:ext cx="843350" cy="843350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AEBA4A2E-8994-F744-8CCE-EBC9D0ECCC6F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074835" y="3219581"/>
            <a:ext cx="608644" cy="608644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075E24A5-CD99-5D44-8E08-08672E833FD0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988695" y="3240846"/>
            <a:ext cx="843350" cy="843350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45C02ED2-B871-7B49-8445-AE4E26AB5F95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626109" y="2731273"/>
            <a:ext cx="608644" cy="608644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4F063BA7-3535-E548-B34B-83BB5B7AAA9E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645757" y="3581878"/>
            <a:ext cx="608644" cy="60864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651E21E4-29AE-D048-850F-9DC1409814CC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234753" y="3581878"/>
            <a:ext cx="608644" cy="608644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1D4F3D7F-BF89-8D4A-B6A9-A7FCCB3E3023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627727" y="2646212"/>
            <a:ext cx="352673" cy="352673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5D11D12B-A1D1-4847-ABA9-D7D8C3CAD92D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60434" y="3390491"/>
            <a:ext cx="352673" cy="352673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7485CFA1-74E8-9641-9A99-99DBFCE07643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55857" y="4028445"/>
            <a:ext cx="352673" cy="352673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04D125F3-46FE-3A48-8632-49D05C770EFE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861644" y="3858324"/>
            <a:ext cx="352673" cy="352673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DC1BBA6F-FCAC-3844-B56C-0F4FF55D4A3B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06592" y="2242174"/>
            <a:ext cx="352673" cy="352673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D6E96DFE-3BF3-5E48-BF12-927A073587FB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0443" y="4219831"/>
            <a:ext cx="352673" cy="352673"/>
          </a:xfrm>
          <a:prstGeom prst="rect">
            <a:avLst/>
          </a:prstGeom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D78949DC-CD95-234C-AC16-AEF793B56C9C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134853" y="3071514"/>
            <a:ext cx="352673" cy="352673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5B220D7C-0847-654E-A194-198F423EC214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944006" y="3709467"/>
            <a:ext cx="352673" cy="352673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9A8E419B-E438-4F40-8F37-A1A0EB2E4899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009420" y="3050249"/>
            <a:ext cx="352673" cy="352673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E792DF5D-D07D-B84E-96B1-E25484A98CF8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499597" y="3007719"/>
            <a:ext cx="352673" cy="352673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B7628DA-30CB-6540-9792-0C699EF76BD7}"/>
              </a:ext>
            </a:extLst>
          </p:cNvPr>
          <p:cNvGrpSpPr/>
          <p:nvPr/>
        </p:nvGrpSpPr>
        <p:grpSpPr>
          <a:xfrm>
            <a:off x="354593" y="3201190"/>
            <a:ext cx="3494689" cy="1112496"/>
            <a:chOff x="6123104" y="5390859"/>
            <a:chExt cx="3494689" cy="1112496"/>
          </a:xfrm>
        </p:grpSpPr>
        <p:sp>
          <p:nvSpPr>
            <p:cNvPr id="37" name="Rectangle 28">
              <a:extLst>
                <a:ext uri="{FF2B5EF4-FFF2-40B4-BE49-F238E27FC236}">
                  <a16:creationId xmlns:a16="http://schemas.microsoft.com/office/drawing/2014/main" id="{03B5FCC8-22D0-D74B-BB7D-8A02D2B0C9DE}"/>
                </a:ext>
              </a:extLst>
            </p:cNvPr>
            <p:cNvSpPr/>
            <p:nvPr/>
          </p:nvSpPr>
          <p:spPr>
            <a:xfrm>
              <a:off x="6123104" y="5390859"/>
              <a:ext cx="3494689" cy="111249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/>
                <a:t>t</a:t>
              </a:r>
            </a:p>
          </p:txBody>
        </p:sp>
        <p:sp>
          <p:nvSpPr>
            <p:cNvPr id="38" name="TextBox 31">
              <a:extLst>
                <a:ext uri="{FF2B5EF4-FFF2-40B4-BE49-F238E27FC236}">
                  <a16:creationId xmlns:a16="http://schemas.microsoft.com/office/drawing/2014/main" id="{BCB45FBA-84F5-A04F-A073-C8928F8D2E5D}"/>
                </a:ext>
              </a:extLst>
            </p:cNvPr>
            <p:cNvSpPr txBox="1"/>
            <p:nvPr/>
          </p:nvSpPr>
          <p:spPr>
            <a:xfrm>
              <a:off x="6360083" y="5483757"/>
              <a:ext cx="3035937" cy="762783"/>
            </a:xfrm>
            <a:prstGeom prst="rect">
              <a:avLst/>
            </a:prstGeom>
            <a:noFill/>
          </p:spPr>
          <p:txBody>
            <a:bodyPr wrap="square" tIns="0" rtlCol="0" anchor="t">
              <a:noAutofit/>
            </a:bodyPr>
            <a:lstStyle/>
            <a:p>
              <a:r>
                <a:rPr lang="en-US" sz="2000">
                  <a:solidFill>
                    <a:schemeClr val="tx1">
                      <a:lumMod val="75000"/>
                      <a:lumOff val="25000"/>
                    </a:schemeClr>
                  </a:solidFill>
                  <a:latin typeface="Flanders Art Sans Medium" pitchFamily="2" charset="77"/>
                </a:rPr>
                <a:t>City of Ghent</a:t>
              </a:r>
            </a:p>
            <a:p>
              <a:r>
                <a:rPr lang="en-US" sz="2000">
                  <a:solidFill>
                    <a:schemeClr val="tx1">
                      <a:lumMod val="75000"/>
                      <a:lumOff val="25000"/>
                    </a:schemeClr>
                  </a:solidFill>
                  <a:latin typeface="FlandersArtSans-Regular" pitchFamily="2" charset="77"/>
                </a:rPr>
                <a:t>New plan on </a:t>
              </a:r>
              <a:r>
                <a:rPr lang="en-US" sz="2000" b="1">
                  <a:solidFill>
                    <a:schemeClr val="tx1">
                      <a:lumMod val="75000"/>
                      <a:lumOff val="25000"/>
                    </a:schemeClr>
                  </a:solidFill>
                  <a:highlight>
                    <a:srgbClr val="FEE716"/>
                  </a:highlight>
                  <a:latin typeface="FlandersArtSans-Regular" pitchFamily="2" charset="77"/>
                </a:rPr>
                <a:t>traffic circulation</a:t>
              </a:r>
              <a:endParaRPr lang="en-US" sz="2000">
                <a:solidFill>
                  <a:schemeClr val="tx1">
                    <a:lumMod val="75000"/>
                    <a:lumOff val="25000"/>
                  </a:schemeClr>
                </a:solidFill>
                <a:latin typeface="Flanders Art Sans Medium" pitchFamily="2" charset="77"/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25513668-822B-9948-927D-9B1987BC6C85}"/>
              </a:ext>
            </a:extLst>
          </p:cNvPr>
          <p:cNvGrpSpPr/>
          <p:nvPr/>
        </p:nvGrpSpPr>
        <p:grpSpPr>
          <a:xfrm>
            <a:off x="8290630" y="2111607"/>
            <a:ext cx="3494689" cy="1505668"/>
            <a:chOff x="6096001" y="5197388"/>
            <a:chExt cx="3494689" cy="1505668"/>
          </a:xfrm>
        </p:grpSpPr>
        <p:sp>
          <p:nvSpPr>
            <p:cNvPr id="40" name="Rectangle 28">
              <a:extLst>
                <a:ext uri="{FF2B5EF4-FFF2-40B4-BE49-F238E27FC236}">
                  <a16:creationId xmlns:a16="http://schemas.microsoft.com/office/drawing/2014/main" id="{364BFC41-2E3E-E443-A7C8-0020B74765A6}"/>
                </a:ext>
              </a:extLst>
            </p:cNvPr>
            <p:cNvSpPr/>
            <p:nvPr/>
          </p:nvSpPr>
          <p:spPr>
            <a:xfrm>
              <a:off x="6096001" y="5197388"/>
              <a:ext cx="3494689" cy="15056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/>
                <a:t>t</a:t>
              </a:r>
            </a:p>
          </p:txBody>
        </p:sp>
        <p:sp>
          <p:nvSpPr>
            <p:cNvPr id="41" name="TextBox 31">
              <a:extLst>
                <a:ext uri="{FF2B5EF4-FFF2-40B4-BE49-F238E27FC236}">
                  <a16:creationId xmlns:a16="http://schemas.microsoft.com/office/drawing/2014/main" id="{930B22D4-8DEF-4A4D-94A1-50C27FBDEC79}"/>
                </a:ext>
              </a:extLst>
            </p:cNvPr>
            <p:cNvSpPr txBox="1"/>
            <p:nvPr/>
          </p:nvSpPr>
          <p:spPr>
            <a:xfrm>
              <a:off x="6360083" y="5483757"/>
              <a:ext cx="3035937" cy="1154788"/>
            </a:xfrm>
            <a:prstGeom prst="rect">
              <a:avLst/>
            </a:prstGeom>
            <a:noFill/>
          </p:spPr>
          <p:txBody>
            <a:bodyPr wrap="square" tIns="0" rtlCol="0" anchor="t">
              <a:noAutofit/>
            </a:bodyPr>
            <a:lstStyle/>
            <a:p>
              <a:r>
                <a:rPr lang="en-US" sz="2000">
                  <a:solidFill>
                    <a:schemeClr val="tx1">
                      <a:lumMod val="75000"/>
                      <a:lumOff val="25000"/>
                    </a:schemeClr>
                  </a:solidFill>
                  <a:latin typeface="Flanders Art Sans Medium" pitchFamily="2" charset="77"/>
                </a:rPr>
                <a:t>City of Hasselt</a:t>
              </a:r>
            </a:p>
            <a:p>
              <a:r>
                <a:rPr lang="en-US" sz="2000">
                  <a:solidFill>
                    <a:schemeClr val="tx1">
                      <a:lumMod val="75000"/>
                      <a:lumOff val="25000"/>
                    </a:schemeClr>
                  </a:solidFill>
                  <a:latin typeface="FlandersArtSans-Regular" pitchFamily="2" charset="77"/>
                </a:rPr>
                <a:t>Conditions for </a:t>
              </a:r>
              <a:r>
                <a:rPr lang="en-US" sz="2000" b="1">
                  <a:solidFill>
                    <a:schemeClr val="tx1">
                      <a:lumMod val="75000"/>
                      <a:lumOff val="25000"/>
                    </a:schemeClr>
                  </a:solidFill>
                  <a:highlight>
                    <a:srgbClr val="FEE716"/>
                  </a:highlight>
                  <a:latin typeface="FlandersArtSans-Regular" pitchFamily="2" charset="77"/>
                </a:rPr>
                <a:t>building permits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B2A4599D-ED6C-E544-BF3D-9DFB6BB2D643}"/>
              </a:ext>
            </a:extLst>
          </p:cNvPr>
          <p:cNvGrpSpPr/>
          <p:nvPr/>
        </p:nvGrpSpPr>
        <p:grpSpPr>
          <a:xfrm>
            <a:off x="4903850" y="3834947"/>
            <a:ext cx="3494689" cy="1395438"/>
            <a:chOff x="6096001" y="5197388"/>
            <a:chExt cx="3494689" cy="1395438"/>
          </a:xfrm>
        </p:grpSpPr>
        <p:sp>
          <p:nvSpPr>
            <p:cNvPr id="43" name="Rectangle 28">
              <a:extLst>
                <a:ext uri="{FF2B5EF4-FFF2-40B4-BE49-F238E27FC236}">
                  <a16:creationId xmlns:a16="http://schemas.microsoft.com/office/drawing/2014/main" id="{4F864D18-533E-A540-B684-1B463BA01AE4}"/>
                </a:ext>
              </a:extLst>
            </p:cNvPr>
            <p:cNvSpPr/>
            <p:nvPr/>
          </p:nvSpPr>
          <p:spPr>
            <a:xfrm>
              <a:off x="6096001" y="5197388"/>
              <a:ext cx="3494689" cy="13954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/>
                <a:t>t</a:t>
              </a:r>
            </a:p>
          </p:txBody>
        </p:sp>
        <p:sp>
          <p:nvSpPr>
            <p:cNvPr id="44" name="TextBox 31">
              <a:extLst>
                <a:ext uri="{FF2B5EF4-FFF2-40B4-BE49-F238E27FC236}">
                  <a16:creationId xmlns:a16="http://schemas.microsoft.com/office/drawing/2014/main" id="{757BF890-C2B4-B04B-84A2-4FC8F9ED277E}"/>
                </a:ext>
              </a:extLst>
            </p:cNvPr>
            <p:cNvSpPr txBox="1"/>
            <p:nvPr/>
          </p:nvSpPr>
          <p:spPr>
            <a:xfrm>
              <a:off x="6360083" y="5435631"/>
              <a:ext cx="3035937" cy="600628"/>
            </a:xfrm>
            <a:prstGeom prst="rect">
              <a:avLst/>
            </a:prstGeom>
            <a:noFill/>
          </p:spPr>
          <p:txBody>
            <a:bodyPr wrap="square" tIns="0" rtlCol="0" anchor="t">
              <a:noAutofit/>
            </a:bodyPr>
            <a:lstStyle/>
            <a:p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Flanders Art Sans Medium" pitchFamily="2" charset="77"/>
                </a:rPr>
                <a:t>City of Mechelen</a:t>
              </a:r>
            </a:p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  <a:highlight>
                    <a:srgbClr val="FEE716"/>
                  </a:highlight>
                  <a:latin typeface="FlandersArtSans-Regular" pitchFamily="2" charset="77"/>
                </a:rPr>
                <a:t>Tax on business space</a:t>
              </a:r>
              <a:endPara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FlandersArtSans-Regular" pitchFamily="2" charset="77"/>
              </a:endParaRPr>
            </a:p>
            <a:p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EE716"/>
                </a:highlight>
                <a:latin typeface="FlandersArtSans-Regular" pitchFamily="2" charset="77"/>
              </a:endParaRPr>
            </a:p>
          </p:txBody>
        </p:sp>
      </p:grpSp>
      <p:pic>
        <p:nvPicPr>
          <p:cNvPr id="47" name="Graphic 46">
            <a:extLst>
              <a:ext uri="{FF2B5EF4-FFF2-40B4-BE49-F238E27FC236}">
                <a16:creationId xmlns:a16="http://schemas.microsoft.com/office/drawing/2014/main" id="{4916A1C1-1C8C-134E-9E17-39F2CCBE1889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9400" y="7054231"/>
            <a:ext cx="1980000" cy="768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01950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38003D-A78F-D1EF-8477-3FCE5FD8A3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id="{7C11B3AA-7D01-2A5B-578D-23AC988B216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DB10C7C-D765-0770-52DB-145E23CE95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/>
              <a:t>Voorbeelden</a:t>
            </a:r>
          </a:p>
        </p:txBody>
      </p:sp>
      <p:pic>
        <p:nvPicPr>
          <p:cNvPr id="5" name="Afbeelding 4" descr="Afbeelding met tekst, schermopname, Lettertype, ontwerp&#10;&#10;Door AI gegenereerde inhoud is mogelijk onjuist.">
            <a:extLst>
              <a:ext uri="{FF2B5EF4-FFF2-40B4-BE49-F238E27FC236}">
                <a16:creationId xmlns:a16="http://schemas.microsoft.com/office/drawing/2014/main" id="{01CD0826-1273-A36C-44DD-28B7AC9668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51242"/>
            <a:ext cx="12558132" cy="7862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093503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id="{8F642182-1B8F-7A8F-9CDC-A1795E88CF9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7D46ABA-1F13-3CD0-93AB-37E9528E68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BE"/>
          </a:p>
        </p:txBody>
      </p:sp>
      <p:pic>
        <p:nvPicPr>
          <p:cNvPr id="5" name="Afbeelding 4" descr="Afbeelding met tekst, schermopname, Lettertype&#10;&#10;Door AI gegenereerde inhoud is mogelijk onjuist.">
            <a:extLst>
              <a:ext uri="{FF2B5EF4-FFF2-40B4-BE49-F238E27FC236}">
                <a16:creationId xmlns:a16="http://schemas.microsoft.com/office/drawing/2014/main" id="{78913518-81B1-0271-A83A-67B791381F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7821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784560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47B3D785-5A86-1CFF-4A4A-B745500817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/>
              <a:t>Human validation of AI results </a:t>
            </a:r>
          </a:p>
        </p:txBody>
      </p:sp>
      <p:pic>
        <p:nvPicPr>
          <p:cNvPr id="5" name="Afbeelding 4" descr="Afbeelding met tekst, schermopname, nummer, Lettertype&#10;&#10;Door AI gegenereerde inhoud is mogelijk onjuist.">
            <a:extLst>
              <a:ext uri="{FF2B5EF4-FFF2-40B4-BE49-F238E27FC236}">
                <a16:creationId xmlns:a16="http://schemas.microsoft.com/office/drawing/2014/main" id="{58EF376B-1DE3-EC48-F7E0-F19A1581F2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87847" y="1437189"/>
            <a:ext cx="8118026" cy="5277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690746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vraagteken">
            <a:extLst>
              <a:ext uri="{FF2B5EF4-FFF2-40B4-BE49-F238E27FC236}">
                <a16:creationId xmlns:a16="http://schemas.microsoft.com/office/drawing/2014/main" id="{88FF02B0-1616-4884-9B3B-E6DA3A3AEF9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36" r="-2" b="9846"/>
          <a:stretch/>
        </p:blipFill>
        <p:spPr bwMode="auto">
          <a:xfrm>
            <a:off x="387219" y="1457617"/>
            <a:ext cx="5088099" cy="4101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70C5A4D-F89A-4149-AC1C-79D35E44230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943600" y="3669561"/>
            <a:ext cx="6071089" cy="2246329"/>
          </a:xfrm>
        </p:spPr>
        <p:txBody>
          <a:bodyPr>
            <a:normAutofit lnSpcReduction="10000"/>
          </a:bodyPr>
          <a:lstStyle/>
          <a:p>
            <a:pPr algn="r"/>
            <a:r>
              <a:rPr lang="nl-BE" sz="3600" err="1">
                <a:latin typeface="FlandersArtSans-Regular" panose="00000500000000000000" pitchFamily="2" charset="0"/>
              </a:rPr>
              <a:t>Questions</a:t>
            </a:r>
            <a:r>
              <a:rPr lang="nl-BE" sz="3600">
                <a:latin typeface="FlandersArtSans-Regular" panose="00000500000000000000" pitchFamily="2" charset="0"/>
              </a:rPr>
              <a:t>, </a:t>
            </a:r>
            <a:r>
              <a:rPr lang="nl-BE" sz="3600" err="1">
                <a:latin typeface="FlandersArtSans-Regular" panose="00000500000000000000" pitchFamily="2" charset="0"/>
              </a:rPr>
              <a:t>remarks</a:t>
            </a:r>
            <a:r>
              <a:rPr lang="nl-BE" sz="3600">
                <a:latin typeface="FlandersArtSans-Regular" panose="00000500000000000000" pitchFamily="2" charset="0"/>
              </a:rPr>
              <a:t>, </a:t>
            </a:r>
            <a:r>
              <a:rPr lang="nl-BE" sz="3600" err="1">
                <a:latin typeface="FlandersArtSans-Regular" panose="00000500000000000000" pitchFamily="2" charset="0"/>
              </a:rPr>
              <a:t>advice</a:t>
            </a:r>
            <a:r>
              <a:rPr lang="nl-BE" sz="3600">
                <a:latin typeface="FlandersArtSans-Regular" panose="00000500000000000000" pitchFamily="2" charset="0"/>
              </a:rPr>
              <a:t>?</a:t>
            </a:r>
          </a:p>
          <a:p>
            <a:pPr algn="r"/>
            <a:r>
              <a:rPr lang="nl-BE">
                <a:latin typeface="FlandersArtSans-Regular" panose="00000500000000000000" pitchFamily="2" charset="0"/>
              </a:rPr>
              <a:t> </a:t>
            </a:r>
          </a:p>
          <a:p>
            <a:pPr algn="r"/>
            <a:r>
              <a:rPr lang="nl-BE">
                <a:hlinkClick r:id="rId4"/>
              </a:rPr>
              <a:t>veronique.volders@vlaanderen.be, stefanie.kerkhof@vlaanderen.be</a:t>
            </a:r>
            <a:r>
              <a:rPr lang="nl-BE"/>
              <a:t>, </a:t>
            </a:r>
            <a:r>
              <a:rPr lang="nl-BE">
                <a:hlinkClick r:id="rId5"/>
              </a:rPr>
              <a:t>daan.zwaenepoel@vlaanderen.be</a:t>
            </a:r>
            <a:r>
              <a:rPr lang="nl-BE"/>
              <a:t> </a:t>
            </a:r>
          </a:p>
          <a:p>
            <a:pPr algn="r"/>
            <a:r>
              <a:rPr lang="nl-BE"/>
              <a:t>Or </a:t>
            </a:r>
            <a:r>
              <a:rPr lang="nl-BE" err="1"/>
              <a:t>any</a:t>
            </a:r>
            <a:r>
              <a:rPr lang="nl-BE"/>
              <a:t> of </a:t>
            </a:r>
            <a:r>
              <a:rPr lang="nl-BE" err="1"/>
              <a:t>the</a:t>
            </a:r>
            <a:r>
              <a:rPr lang="nl-BE"/>
              <a:t> </a:t>
            </a:r>
            <a:r>
              <a:rPr lang="nl-BE" err="1"/>
              <a:t>other</a:t>
            </a:r>
            <a:r>
              <a:rPr lang="nl-BE"/>
              <a:t> members of </a:t>
            </a:r>
            <a:r>
              <a:rPr lang="nl-BE" err="1"/>
              <a:t>the</a:t>
            </a:r>
            <a:r>
              <a:rPr lang="nl-BE"/>
              <a:t> project</a:t>
            </a:r>
          </a:p>
          <a:p>
            <a:pPr algn="r"/>
            <a:endParaRPr lang="nl-BE"/>
          </a:p>
          <a:p>
            <a:pPr algn="r"/>
            <a:endParaRPr lang="nl-BE"/>
          </a:p>
          <a:p>
            <a:pPr algn="r"/>
            <a:endParaRPr lang="nl-BE" sz="3600">
              <a:latin typeface="FlandersArtSans-Regular" panose="00000500000000000000" pitchFamily="2" charset="0"/>
            </a:endParaRP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086B3C5D-B497-431D-934C-E672C03AC428}"/>
              </a:ext>
            </a:extLst>
          </p:cNvPr>
          <p:cNvSpPr txBox="1">
            <a:spLocks/>
          </p:cNvSpPr>
          <p:nvPr/>
        </p:nvSpPr>
        <p:spPr>
          <a:xfrm>
            <a:off x="6926752" y="1347204"/>
            <a:ext cx="5087937" cy="22463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  <a:defRPr sz="2800" u="none" kern="1200" baseline="0">
                <a:solidFill>
                  <a:schemeClr val="tx1"/>
                </a:solidFill>
                <a:uFill>
                  <a:solidFill>
                    <a:schemeClr val="bg1"/>
                  </a:solidFill>
                </a:uFill>
                <a:latin typeface="+mn-lt"/>
                <a:ea typeface="+mn-ea"/>
                <a:cs typeface="+mn-cs"/>
              </a:defRPr>
            </a:lvl1pPr>
            <a:lvl2pPr marL="27432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"/>
              <a:defRPr sz="2400" u="none" kern="1200" baseline="0">
                <a:solidFill>
                  <a:schemeClr val="tx1"/>
                </a:solidFill>
                <a:uFill>
                  <a:solidFill>
                    <a:schemeClr val="bg1"/>
                  </a:solidFill>
                </a:uFill>
                <a:latin typeface="+mn-lt"/>
                <a:ea typeface="+mn-ea"/>
                <a:cs typeface="+mn-cs"/>
              </a:defRPr>
            </a:lvl2pPr>
            <a:lvl3pPr marL="54864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60000"/>
              <a:buFont typeface="Wingdings" panose="05000000000000000000" pitchFamily="2" charset="2"/>
              <a:buChar char="p"/>
              <a:defRPr sz="2000" b="0" u="none" kern="1200" baseline="0">
                <a:solidFill>
                  <a:schemeClr val="tx2"/>
                </a:solidFill>
                <a:uFill>
                  <a:solidFill>
                    <a:schemeClr val="bg1"/>
                  </a:solidFill>
                </a:uFill>
                <a:latin typeface="+mn-lt"/>
                <a:ea typeface="+mn-ea"/>
                <a:cs typeface="+mn-cs"/>
              </a:defRPr>
            </a:lvl3pPr>
            <a:lvl4pPr marL="82296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buSzPct val="60000"/>
              <a:buFont typeface="Wingdings" panose="05000000000000000000" pitchFamily="2" charset="2"/>
              <a:buChar char="n"/>
              <a:defRPr sz="1800" u="none" kern="1200" baseline="0">
                <a:solidFill>
                  <a:schemeClr val="accent6"/>
                </a:solidFill>
                <a:uFill>
                  <a:solidFill>
                    <a:schemeClr val="bg1"/>
                  </a:solidFill>
                </a:uFill>
                <a:latin typeface="+mn-lt"/>
                <a:ea typeface="+mn-ea"/>
                <a:cs typeface="+mn-cs"/>
              </a:defRPr>
            </a:lvl4pPr>
            <a:lvl5pPr marL="109728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buSzPct val="60000"/>
              <a:buFont typeface="Wingdings" panose="05000000000000000000" pitchFamily="2" charset="2"/>
              <a:buChar char=""/>
              <a:defRPr sz="1600" b="0" u="none" kern="1200" baseline="0">
                <a:solidFill>
                  <a:schemeClr val="accent6"/>
                </a:solidFill>
                <a:uFill>
                  <a:solidFill>
                    <a:schemeClr val="bg1"/>
                  </a:solidFill>
                </a:u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nl-BE" sz="3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>
                <a:solidFill>
                  <a:prstClr val="white"/>
                </a:solidFill>
              </a:uFill>
              <a:latin typeface="FlandersArtSans-Regular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4809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" name="Graphic 70">
            <a:extLst>
              <a:ext uri="{FF2B5EF4-FFF2-40B4-BE49-F238E27FC236}">
                <a16:creationId xmlns:a16="http://schemas.microsoft.com/office/drawing/2014/main" id="{F3367FA4-5662-9F48-A142-D78020F64596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906383" y="3847742"/>
            <a:ext cx="1359841" cy="1359841"/>
          </a:xfrm>
          <a:prstGeom prst="rect">
            <a:avLst/>
          </a:prstGeom>
        </p:spPr>
      </p:pic>
      <p:pic>
        <p:nvPicPr>
          <p:cNvPr id="79" name="Graphic 78">
            <a:extLst>
              <a:ext uri="{FF2B5EF4-FFF2-40B4-BE49-F238E27FC236}">
                <a16:creationId xmlns:a16="http://schemas.microsoft.com/office/drawing/2014/main" id="{C3E575E2-1188-2A47-B788-6EFDF98738D1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028218" y="3992923"/>
            <a:ext cx="1173952" cy="1173952"/>
          </a:xfrm>
          <a:prstGeom prst="rect">
            <a:avLst/>
          </a:prstGeom>
        </p:spPr>
      </p:pic>
      <p:pic>
        <p:nvPicPr>
          <p:cNvPr id="80" name="Graphic 79">
            <a:extLst>
              <a:ext uri="{FF2B5EF4-FFF2-40B4-BE49-F238E27FC236}">
                <a16:creationId xmlns:a16="http://schemas.microsoft.com/office/drawing/2014/main" id="{C53A3027-FA6C-544A-A329-52F79C936D22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2309162" y="4306633"/>
            <a:ext cx="812567" cy="812567"/>
          </a:xfrm>
          <a:prstGeom prst="rect">
            <a:avLst/>
          </a:prstGeom>
        </p:spPr>
      </p:pic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E8E038F3-BF05-4A46-9EF3-5D0D6DA1BBE7}"/>
              </a:ext>
            </a:extLst>
          </p:cNvPr>
          <p:cNvCxnSpPr/>
          <p:nvPr/>
        </p:nvCxnSpPr>
        <p:spPr>
          <a:xfrm>
            <a:off x="0" y="4961463"/>
            <a:ext cx="12514729" cy="0"/>
          </a:xfrm>
          <a:prstGeom prst="line">
            <a:avLst/>
          </a:prstGeom>
          <a:ln w="254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oup 76">
            <a:extLst>
              <a:ext uri="{FF2B5EF4-FFF2-40B4-BE49-F238E27FC236}">
                <a16:creationId xmlns:a16="http://schemas.microsoft.com/office/drawing/2014/main" id="{053C77CA-3C7A-0D46-AE1E-3372FA1DD922}"/>
              </a:ext>
            </a:extLst>
          </p:cNvPr>
          <p:cNvGrpSpPr/>
          <p:nvPr/>
        </p:nvGrpSpPr>
        <p:grpSpPr>
          <a:xfrm>
            <a:off x="720451" y="2174619"/>
            <a:ext cx="3521593" cy="3521593"/>
            <a:chOff x="-424654" y="2174619"/>
            <a:chExt cx="3521593" cy="3521593"/>
          </a:xfrm>
        </p:grpSpPr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A9673629-DA00-2C4B-B5A5-730DC89F89AC}"/>
                </a:ext>
              </a:extLst>
            </p:cNvPr>
            <p:cNvSpPr/>
            <p:nvPr/>
          </p:nvSpPr>
          <p:spPr>
            <a:xfrm>
              <a:off x="814713" y="3198848"/>
              <a:ext cx="922386" cy="200873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4" name="Graphic 73">
              <a:extLst>
                <a:ext uri="{FF2B5EF4-FFF2-40B4-BE49-F238E27FC236}">
                  <a16:creationId xmlns:a16="http://schemas.microsoft.com/office/drawing/2014/main" id="{5B8EE701-B290-8E41-8505-B9B24DCC1604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-424654" y="2174619"/>
              <a:ext cx="3521593" cy="3521593"/>
            </a:xfrm>
            <a:prstGeom prst="rect">
              <a:avLst/>
            </a:prstGeom>
          </p:spPr>
        </p:pic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4F045E28-3016-E645-9689-40F23EF278FB}"/>
              </a:ext>
            </a:extLst>
          </p:cNvPr>
          <p:cNvSpPr/>
          <p:nvPr/>
        </p:nvSpPr>
        <p:spPr>
          <a:xfrm>
            <a:off x="3954081" y="-275872"/>
            <a:ext cx="8444753" cy="24025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itle 7">
            <a:extLst>
              <a:ext uri="{FF2B5EF4-FFF2-40B4-BE49-F238E27FC236}">
                <a16:creationId xmlns:a16="http://schemas.microsoft.com/office/drawing/2014/main" id="{607DE3E5-8C5A-4341-A8CD-BAA0C97E88FF}"/>
              </a:ext>
            </a:extLst>
          </p:cNvPr>
          <p:cNvSpPr txBox="1">
            <a:spLocks/>
          </p:cNvSpPr>
          <p:nvPr/>
        </p:nvSpPr>
        <p:spPr>
          <a:xfrm>
            <a:off x="725496" y="369180"/>
            <a:ext cx="10753200" cy="108000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FlandersArtSans-Medium" panose="00000600000000000000" pitchFamily="2" charset="0"/>
                <a:ea typeface="+mj-ea"/>
                <a:cs typeface="+mj-cs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                                                          &amp; Companies</a:t>
            </a:r>
          </a:p>
        </p:txBody>
      </p:sp>
      <p:pic>
        <p:nvPicPr>
          <p:cNvPr id="54" name="Graphic 53">
            <a:extLst>
              <a:ext uri="{FF2B5EF4-FFF2-40B4-BE49-F238E27FC236}">
                <a16:creationId xmlns:a16="http://schemas.microsoft.com/office/drawing/2014/main" id="{E95EA036-0B9E-9744-96BE-8E9965B5D8D5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469456" y="2313467"/>
            <a:ext cx="3263927" cy="326392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7C4A7FC-C032-6E41-863A-767148E745B3}"/>
              </a:ext>
            </a:extLst>
          </p:cNvPr>
          <p:cNvPicPr>
            <a:picLocks noChangeAspect="1"/>
          </p:cNvPicPr>
          <p:nvPr/>
        </p:nvPicPr>
        <p:blipFill>
          <a:blip r:embed="rId8">
            <a:biLevel thresh="75000"/>
            <a:alphaModFix amt="34000"/>
          </a:blip>
          <a:stretch>
            <a:fillRect/>
          </a:stretch>
        </p:blipFill>
        <p:spPr>
          <a:xfrm>
            <a:off x="-12050706" y="5535909"/>
            <a:ext cx="16874055" cy="13118915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86A7DDF5-DF40-9343-9675-4419C5A592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369180"/>
            <a:ext cx="5501470" cy="1080000"/>
          </a:xfrm>
        </p:spPr>
        <p:txBody>
          <a:bodyPr/>
          <a:lstStyle/>
          <a:p>
            <a:r>
              <a:rPr lang="en-US">
                <a:solidFill>
                  <a:schemeClr val="tx2"/>
                </a:solidFill>
              </a:rPr>
              <a:t>Relevant to Governments</a:t>
            </a:r>
          </a:p>
        </p:txBody>
      </p:sp>
      <p:pic>
        <p:nvPicPr>
          <p:cNvPr id="45" name="Graphic 44">
            <a:extLst>
              <a:ext uri="{FF2B5EF4-FFF2-40B4-BE49-F238E27FC236}">
                <a16:creationId xmlns:a16="http://schemas.microsoft.com/office/drawing/2014/main" id="{0D4C18BD-570B-AA41-A4DE-70D5A44F7CE9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183165" y="2262651"/>
            <a:ext cx="2843917" cy="2843917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51F2F232-C11F-A147-8E03-A03F3F0752C9}"/>
              </a:ext>
            </a:extLst>
          </p:cNvPr>
          <p:cNvPicPr>
            <a:picLocks noChangeAspect="1"/>
          </p:cNvPicPr>
          <p:nvPr/>
        </p:nvPicPr>
        <p:blipFill rotWithShape="1"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30904" r="32751"/>
          <a:stretch/>
        </p:blipFill>
        <p:spPr>
          <a:xfrm>
            <a:off x="5741046" y="3880003"/>
            <a:ext cx="690048" cy="1898636"/>
          </a:xfrm>
          <a:prstGeom prst="rect">
            <a:avLst/>
          </a:prstGeom>
        </p:spPr>
      </p:pic>
      <p:pic>
        <p:nvPicPr>
          <p:cNvPr id="52" name="Graphic 51">
            <a:extLst>
              <a:ext uri="{FF2B5EF4-FFF2-40B4-BE49-F238E27FC236}">
                <a16:creationId xmlns:a16="http://schemas.microsoft.com/office/drawing/2014/main" id="{CCC241B5-F443-E74B-9177-107F8721007C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7552122" y="4460830"/>
            <a:ext cx="1199051" cy="1199051"/>
          </a:xfrm>
          <a:prstGeom prst="rect">
            <a:avLst/>
          </a:prstGeom>
        </p:spPr>
      </p:pic>
      <p:pic>
        <p:nvPicPr>
          <p:cNvPr id="53" name="Graphic 52">
            <a:extLst>
              <a:ext uri="{FF2B5EF4-FFF2-40B4-BE49-F238E27FC236}">
                <a16:creationId xmlns:a16="http://schemas.microsoft.com/office/drawing/2014/main" id="{B796A97A-12F3-AB4E-8CA5-8242F469AFE4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 flipH="1">
            <a:off x="4656103" y="4048495"/>
            <a:ext cx="1564767" cy="1564767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3F32EBD1-072B-564D-9C75-EA5803BA4ACD}"/>
              </a:ext>
            </a:extLst>
          </p:cNvPr>
          <p:cNvGrpSpPr/>
          <p:nvPr/>
        </p:nvGrpSpPr>
        <p:grpSpPr>
          <a:xfrm>
            <a:off x="6424101" y="3989512"/>
            <a:ext cx="714466" cy="1992343"/>
            <a:chOff x="6424101" y="3989512"/>
            <a:chExt cx="714466" cy="1992343"/>
          </a:xfrm>
        </p:grpSpPr>
        <p:pic>
          <p:nvPicPr>
            <p:cNvPr id="57" name="Graphic 56">
              <a:extLst>
                <a:ext uri="{FF2B5EF4-FFF2-40B4-BE49-F238E27FC236}">
                  <a16:creationId xmlns:a16="http://schemas.microsoft.com/office/drawing/2014/main" id="{B9580CF0-614F-1B41-9D05-E2C440CBA91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rcRect t="38728" r="78349"/>
            <a:stretch/>
          </p:blipFill>
          <p:spPr>
            <a:xfrm>
              <a:off x="6424101" y="4028961"/>
              <a:ext cx="690047" cy="1952894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3C774EE-5DE1-674F-961D-0F880D461A0E}"/>
                </a:ext>
              </a:extLst>
            </p:cNvPr>
            <p:cNvSpPr/>
            <p:nvPr/>
          </p:nvSpPr>
          <p:spPr>
            <a:xfrm>
              <a:off x="7025297" y="3989512"/>
              <a:ext cx="113270" cy="70780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3" name="Title 7">
            <a:extLst>
              <a:ext uri="{FF2B5EF4-FFF2-40B4-BE49-F238E27FC236}">
                <a16:creationId xmlns:a16="http://schemas.microsoft.com/office/drawing/2014/main" id="{ECA46377-1C49-6D45-9F39-F8347478411C}"/>
              </a:ext>
            </a:extLst>
          </p:cNvPr>
          <p:cNvSpPr txBox="1">
            <a:spLocks/>
          </p:cNvSpPr>
          <p:nvPr/>
        </p:nvSpPr>
        <p:spPr>
          <a:xfrm>
            <a:off x="719400" y="369019"/>
            <a:ext cx="8656420" cy="108000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FlandersArtSans-Medium" panose="00000600000000000000" pitchFamily="2" charset="0"/>
                <a:ea typeface="+mj-ea"/>
                <a:cs typeface="+mj-cs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                                          , Civilians 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8B46D2DC-E0F5-4D46-97DC-4F10936D8EC7}"/>
              </a:ext>
            </a:extLst>
          </p:cNvPr>
          <p:cNvGrpSpPr/>
          <p:nvPr/>
        </p:nvGrpSpPr>
        <p:grpSpPr>
          <a:xfrm>
            <a:off x="5826741" y="3630381"/>
            <a:ext cx="542062" cy="542066"/>
            <a:chOff x="5826741" y="3630381"/>
            <a:chExt cx="542062" cy="542066"/>
          </a:xfrm>
        </p:grpSpPr>
        <p:pic>
          <p:nvPicPr>
            <p:cNvPr id="66" name="Graphic 65">
              <a:extLst>
                <a:ext uri="{FF2B5EF4-FFF2-40B4-BE49-F238E27FC236}">
                  <a16:creationId xmlns:a16="http://schemas.microsoft.com/office/drawing/2014/main" id="{EB0031A2-A662-7F47-B308-1BE1B187B611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5826741" y="3630381"/>
              <a:ext cx="541163" cy="541163"/>
            </a:xfrm>
            <a:prstGeom prst="rect">
              <a:avLst/>
            </a:prstGeom>
          </p:spPr>
        </p:pic>
        <p:pic>
          <p:nvPicPr>
            <p:cNvPr id="67" name="Graphic 66">
              <a:extLst>
                <a:ext uri="{FF2B5EF4-FFF2-40B4-BE49-F238E27FC236}">
                  <a16:creationId xmlns:a16="http://schemas.microsoft.com/office/drawing/2014/main" id="{32CD39D6-F38D-5943-9070-C54A27B238A7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5827640" y="3631284"/>
              <a:ext cx="541163" cy="541163"/>
            </a:xfrm>
            <a:prstGeom prst="rect">
              <a:avLst/>
            </a:prstGeom>
          </p:spPr>
        </p:pic>
      </p:grpSp>
      <p:pic>
        <p:nvPicPr>
          <p:cNvPr id="69" name="Graphic 68">
            <a:extLst>
              <a:ext uri="{FF2B5EF4-FFF2-40B4-BE49-F238E27FC236}">
                <a16:creationId xmlns:a16="http://schemas.microsoft.com/office/drawing/2014/main" id="{7F48BE8C-9E85-1B4B-A304-86989ACEA3FD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788898" y="4943435"/>
            <a:ext cx="441365" cy="441365"/>
          </a:xfrm>
          <a:prstGeom prst="rect">
            <a:avLst/>
          </a:prstGeom>
        </p:spPr>
      </p:pic>
      <p:grpSp>
        <p:nvGrpSpPr>
          <p:cNvPr id="85" name="Group 84">
            <a:extLst>
              <a:ext uri="{FF2B5EF4-FFF2-40B4-BE49-F238E27FC236}">
                <a16:creationId xmlns:a16="http://schemas.microsoft.com/office/drawing/2014/main" id="{C4776DC2-CC3E-1541-BF07-2050ACCCB89B}"/>
              </a:ext>
            </a:extLst>
          </p:cNvPr>
          <p:cNvGrpSpPr/>
          <p:nvPr/>
        </p:nvGrpSpPr>
        <p:grpSpPr>
          <a:xfrm>
            <a:off x="8059109" y="1381037"/>
            <a:ext cx="4072434" cy="3199446"/>
            <a:chOff x="8206092" y="1616913"/>
            <a:chExt cx="4072434" cy="3199446"/>
          </a:xfrm>
        </p:grpSpPr>
        <p:sp>
          <p:nvSpPr>
            <p:cNvPr id="83" name="Oval Callout 82">
              <a:extLst>
                <a:ext uri="{FF2B5EF4-FFF2-40B4-BE49-F238E27FC236}">
                  <a16:creationId xmlns:a16="http://schemas.microsoft.com/office/drawing/2014/main" id="{A0738B49-3BBF-3F47-AB45-6F66C8683447}"/>
                </a:ext>
              </a:extLst>
            </p:cNvPr>
            <p:cNvSpPr/>
            <p:nvPr/>
          </p:nvSpPr>
          <p:spPr>
            <a:xfrm>
              <a:off x="8206092" y="1616913"/>
              <a:ext cx="3985908" cy="3199446"/>
            </a:xfrm>
            <a:prstGeom prst="wedgeEllipseCallout">
              <a:avLst>
                <a:gd name="adj1" fmla="val -43764"/>
                <a:gd name="adj2" fmla="val 46565"/>
              </a:avLst>
            </a:prstGeom>
            <a:solidFill>
              <a:schemeClr val="bg1"/>
            </a:solidFill>
            <a:ln w="15875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" name="TextBox 31">
              <a:extLst>
                <a:ext uri="{FF2B5EF4-FFF2-40B4-BE49-F238E27FC236}">
                  <a16:creationId xmlns:a16="http://schemas.microsoft.com/office/drawing/2014/main" id="{669E98C0-85A0-E74E-8562-2FF8C96331BD}"/>
                </a:ext>
              </a:extLst>
            </p:cNvPr>
            <p:cNvSpPr txBox="1"/>
            <p:nvPr/>
          </p:nvSpPr>
          <p:spPr>
            <a:xfrm>
              <a:off x="8701417" y="2171092"/>
              <a:ext cx="3577109" cy="1639247"/>
            </a:xfrm>
            <a:prstGeom prst="rect">
              <a:avLst/>
            </a:prstGeom>
            <a:noFill/>
          </p:spPr>
          <p:txBody>
            <a:bodyPr wrap="square" tIns="0" rtlCol="0" anchor="t">
              <a:noAutofit/>
            </a:bodyPr>
            <a:lstStyle/>
            <a:p>
              <a:r>
                <a:rPr lang="en-US" sz="28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ut the information</a:t>
              </a:r>
              <a:br>
                <a:rPr lang="en-US" sz="28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en-US" sz="28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s locked away in</a:t>
              </a:r>
              <a:br>
                <a:rPr lang="en-US" sz="28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en-US" sz="2800" b="1">
                  <a:solidFill>
                    <a:schemeClr val="bg1"/>
                  </a:solidFill>
                  <a:highlight>
                    <a:srgbClr val="3D3D3D"/>
                  </a:highlight>
                </a:rPr>
                <a:t>non-transparent archives</a:t>
              </a:r>
              <a:r>
                <a:rPr lang="en-US" sz="28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. Can we change that?</a:t>
              </a:r>
              <a:endParaRPr lang="en-US" sz="2800" b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F0A118FC-B60F-2E48-9262-2696E7BB13B0}"/>
              </a:ext>
            </a:extLst>
          </p:cNvPr>
          <p:cNvGrpSpPr/>
          <p:nvPr/>
        </p:nvGrpSpPr>
        <p:grpSpPr>
          <a:xfrm>
            <a:off x="1725428" y="1712492"/>
            <a:ext cx="3703935" cy="2683574"/>
            <a:chOff x="8279100" y="1658914"/>
            <a:chExt cx="3703935" cy="2683574"/>
          </a:xfrm>
        </p:grpSpPr>
        <p:sp>
          <p:nvSpPr>
            <p:cNvPr id="87" name="Oval Callout 86">
              <a:extLst>
                <a:ext uri="{FF2B5EF4-FFF2-40B4-BE49-F238E27FC236}">
                  <a16:creationId xmlns:a16="http://schemas.microsoft.com/office/drawing/2014/main" id="{95EBC415-5E10-064E-8468-CBE2A6A90211}"/>
                </a:ext>
              </a:extLst>
            </p:cNvPr>
            <p:cNvSpPr/>
            <p:nvPr/>
          </p:nvSpPr>
          <p:spPr>
            <a:xfrm>
              <a:off x="8279100" y="1658914"/>
              <a:ext cx="3703935" cy="2683574"/>
            </a:xfrm>
            <a:prstGeom prst="wedgeEllipseCallout">
              <a:avLst>
                <a:gd name="adj1" fmla="val 46331"/>
                <a:gd name="adj2" fmla="val 40643"/>
              </a:avLst>
            </a:prstGeom>
            <a:solidFill>
              <a:schemeClr val="bg1"/>
            </a:solidFill>
            <a:ln w="15875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" name="TextBox 31">
              <a:extLst>
                <a:ext uri="{FF2B5EF4-FFF2-40B4-BE49-F238E27FC236}">
                  <a16:creationId xmlns:a16="http://schemas.microsoft.com/office/drawing/2014/main" id="{0B63DB30-0EEE-684C-A41D-86296DDE0681}"/>
                </a:ext>
              </a:extLst>
            </p:cNvPr>
            <p:cNvSpPr txBox="1"/>
            <p:nvPr/>
          </p:nvSpPr>
          <p:spPr>
            <a:xfrm>
              <a:off x="8735237" y="2148096"/>
              <a:ext cx="3067834" cy="1514471"/>
            </a:xfrm>
            <a:prstGeom prst="rect">
              <a:avLst/>
            </a:prstGeom>
            <a:noFill/>
          </p:spPr>
          <p:txBody>
            <a:bodyPr wrap="square" tIns="0" rtlCol="0" anchor="t">
              <a:noAutofit/>
            </a:bodyPr>
            <a:lstStyle/>
            <a:p>
              <a:r>
                <a:rPr lang="en-US" sz="2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We are building an ecosystem based on</a:t>
              </a:r>
              <a:br>
                <a:rPr lang="en-US" sz="2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en-US" sz="2600" b="1" dirty="0">
                  <a:solidFill>
                    <a:schemeClr val="tx1">
                      <a:lumMod val="75000"/>
                      <a:lumOff val="25000"/>
                    </a:schemeClr>
                  </a:solidFill>
                  <a:highlight>
                    <a:srgbClr val="FEE716"/>
                  </a:highlight>
                </a:rPr>
                <a:t>standards &amp; linked open data!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1951113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9" name="Titel 1"/>
          <p:cNvSpPr txBox="1">
            <a:spLocks noGrp="1"/>
          </p:cNvSpPr>
          <p:nvPr>
            <p:ph type="title"/>
          </p:nvPr>
        </p:nvSpPr>
        <p:spPr>
          <a:xfrm>
            <a:off x="1524000" y="1122362"/>
            <a:ext cx="9144000" cy="2387601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2310" name="Ondertitel 2"/>
          <p:cNvSpPr txBox="1">
            <a:spLocks noGrp="1"/>
          </p:cNvSpPr>
          <p:nvPr>
            <p:ph type="body" sz="quarter" idx="1"/>
          </p:nvPr>
        </p:nvSpPr>
        <p:spPr>
          <a:xfrm>
            <a:off x="1524000" y="3602037"/>
            <a:ext cx="9144000" cy="1655762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pic>
        <p:nvPicPr>
          <p:cNvPr id="2311" name="Afbeelding 3" descr="Afbeelding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7163" y="0"/>
            <a:ext cx="10997674" cy="6858000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id="{FB448585-951E-9F44-5685-A6F66D5076B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r>
              <a:rPr lang="nl-BE" dirty="0">
                <a:latin typeface="FlandersArtSans-Regular" panose="00000500000000000000" pitchFamily="2" charset="0"/>
              </a:rPr>
              <a:t>Re-use of local data in practic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705D8986-E792-59C3-09BE-1F7D517256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BE"/>
              <a:t>Voettekst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7839552-9D72-E718-A743-86291AE75B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EABE038-A425-4CC0-917A-1DC3ED725B2E}" type="slidenum">
              <a:rPr lang="nl-BE" smtClean="0"/>
              <a:pPr/>
              <a:t>5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483867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7FC45A-F2F2-99AD-DCCB-CE6AA6545C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>
            <a:extLst>
              <a:ext uri="{FF2B5EF4-FFF2-40B4-BE49-F238E27FC236}">
                <a16:creationId xmlns:a16="http://schemas.microsoft.com/office/drawing/2014/main" id="{FF28D101-3516-C124-49F3-704B3B1C32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357189"/>
            <a:ext cx="10753200" cy="1080000"/>
          </a:xfrm>
        </p:spPr>
        <p:txBody>
          <a:bodyPr>
            <a:normAutofit/>
          </a:bodyPr>
          <a:lstStyle/>
          <a:p>
            <a:r>
              <a:rPr lang="nl-BE" dirty="0">
                <a:latin typeface="FlandersArtSans-Medium"/>
              </a:rPr>
              <a:t>Lokaal beslist</a:t>
            </a:r>
            <a:endParaRPr lang="en-US" dirty="0"/>
          </a:p>
        </p:txBody>
      </p:sp>
      <p:grpSp>
        <p:nvGrpSpPr>
          <p:cNvPr id="7" name="local authorities">
            <a:extLst>
              <a:ext uri="{FF2B5EF4-FFF2-40B4-BE49-F238E27FC236}">
                <a16:creationId xmlns:a16="http://schemas.microsoft.com/office/drawing/2014/main" id="{A8E473C8-ECA5-9A91-0890-D045FBC82467}"/>
              </a:ext>
            </a:extLst>
          </p:cNvPr>
          <p:cNvGrpSpPr/>
          <p:nvPr/>
        </p:nvGrpSpPr>
        <p:grpSpPr>
          <a:xfrm>
            <a:off x="495697" y="2565265"/>
            <a:ext cx="2752829" cy="2234218"/>
            <a:chOff x="5094598" y="1131327"/>
            <a:chExt cx="2752829" cy="2234218"/>
          </a:xfrm>
        </p:grpSpPr>
        <p:sp>
          <p:nvSpPr>
            <p:cNvPr id="8" name="Oval 3">
              <a:extLst>
                <a:ext uri="{FF2B5EF4-FFF2-40B4-BE49-F238E27FC236}">
                  <a16:creationId xmlns:a16="http://schemas.microsoft.com/office/drawing/2014/main" id="{B5CC4AB7-2B59-2B7A-A712-3AE1E4CCCADA}"/>
                </a:ext>
              </a:extLst>
            </p:cNvPr>
            <p:cNvSpPr/>
            <p:nvPr/>
          </p:nvSpPr>
          <p:spPr>
            <a:xfrm>
              <a:off x="5768845" y="1131327"/>
              <a:ext cx="1505798" cy="150579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B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landersArtSerif-Regular"/>
                <a:ea typeface="+mn-ea"/>
                <a:cs typeface="+mn-cs"/>
              </a:endParaRPr>
            </a:p>
          </p:txBody>
        </p:sp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BE244A2D-8724-D795-801F-53704F087A95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221702" y="1348736"/>
              <a:ext cx="600081" cy="600081"/>
            </a:xfrm>
            <a:prstGeom prst="rect">
              <a:avLst/>
            </a:prstGeom>
          </p:spPr>
        </p:pic>
        <p:sp>
          <p:nvSpPr>
            <p:cNvPr id="10" name="main-info-over-GN">
              <a:extLst>
                <a:ext uri="{FF2B5EF4-FFF2-40B4-BE49-F238E27FC236}">
                  <a16:creationId xmlns:a16="http://schemas.microsoft.com/office/drawing/2014/main" id="{702F0BBF-0CC2-6CFE-9469-4F5CDFF79748}"/>
                </a:ext>
              </a:extLst>
            </p:cNvPr>
            <p:cNvSpPr/>
            <p:nvPr/>
          </p:nvSpPr>
          <p:spPr>
            <a:xfrm>
              <a:off x="5094598" y="2031327"/>
              <a:ext cx="2752829" cy="133421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</a:ln>
            <a:effectLst>
              <a:outerShdw blurRad="63500" sx="102000" sy="102000" algn="ctr" rotWithShape="0">
                <a:schemeClr val="accent5">
                  <a:lumMod val="60000"/>
                  <a:lumOff val="40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51999" tIns="45720" rIns="91440" bIns="4572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6B6B6B"/>
                  </a:solidFill>
                  <a:effectLst/>
                  <a:uLnTx/>
                  <a:uFillTx/>
                  <a:latin typeface="FlandersArtSerif-Regular"/>
                  <a:ea typeface="+mn-ea"/>
                  <a:cs typeface="+mn-cs"/>
                </a:rPr>
                <a:t>Local Authorities make decisions with the same </a:t>
              </a: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6B6B6B"/>
                  </a:solidFill>
                  <a:effectLst/>
                  <a:highlight>
                    <a:srgbClr val="FEE716"/>
                  </a:highlight>
                  <a:uLnTx/>
                  <a:uFillTx/>
                  <a:latin typeface="FlandersArtSerif-Regular"/>
                  <a:ea typeface="+mn-ea"/>
                  <a:cs typeface="+mn-cs"/>
                </a:rPr>
                <a:t>Linked Open Data Standard</a:t>
              </a:r>
            </a:p>
          </p:txBody>
        </p:sp>
      </p:grpSp>
      <p:pic>
        <p:nvPicPr>
          <p:cNvPr id="11" name="Picture 2" descr="A screenshot of a computer&#10;&#10;AI-generated content may be incorrect.">
            <a:extLst>
              <a:ext uri="{FF2B5EF4-FFF2-40B4-BE49-F238E27FC236}">
                <a16:creationId xmlns:a16="http://schemas.microsoft.com/office/drawing/2014/main" id="{46B476C3-B2D1-5660-34E3-42B7EBEDAB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49989" y="1733745"/>
            <a:ext cx="8842011" cy="462618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2F158C0-9B3F-6707-3ABE-6EB5B77D8ECC}"/>
              </a:ext>
            </a:extLst>
          </p:cNvPr>
          <p:cNvSpPr txBox="1"/>
          <p:nvPr/>
        </p:nvSpPr>
        <p:spPr>
          <a:xfrm>
            <a:off x="1169944" y="5575919"/>
            <a:ext cx="112562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2800" dirty="0">
                <a:hlinkClick r:id="rId5"/>
              </a:rPr>
              <a:t>DEMO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8783571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7318DF-A9E2-4650-1273-0FCDC417FE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>
            <a:extLst>
              <a:ext uri="{FF2B5EF4-FFF2-40B4-BE49-F238E27FC236}">
                <a16:creationId xmlns:a16="http://schemas.microsoft.com/office/drawing/2014/main" id="{183E36EC-DE33-CE22-42A3-4365D806C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357189"/>
            <a:ext cx="10753200" cy="1080000"/>
          </a:xfrm>
        </p:spPr>
        <p:txBody>
          <a:bodyPr>
            <a:normAutofit/>
          </a:bodyPr>
          <a:lstStyle/>
          <a:p>
            <a:r>
              <a:rPr lang="nl-BE" dirty="0">
                <a:latin typeface="FlandersArtSans-Medium"/>
              </a:rPr>
              <a:t>Re-use by citizens</a:t>
            </a:r>
          </a:p>
        </p:txBody>
      </p:sp>
      <p:grpSp>
        <p:nvGrpSpPr>
          <p:cNvPr id="7" name="local authorities">
            <a:extLst>
              <a:ext uri="{FF2B5EF4-FFF2-40B4-BE49-F238E27FC236}">
                <a16:creationId xmlns:a16="http://schemas.microsoft.com/office/drawing/2014/main" id="{6E976D5D-477C-D0D3-12AC-FD2EA29699B6}"/>
              </a:ext>
            </a:extLst>
          </p:cNvPr>
          <p:cNvGrpSpPr/>
          <p:nvPr/>
        </p:nvGrpSpPr>
        <p:grpSpPr>
          <a:xfrm>
            <a:off x="495697" y="2565265"/>
            <a:ext cx="2752829" cy="2234218"/>
            <a:chOff x="5094598" y="1131327"/>
            <a:chExt cx="2752829" cy="2234218"/>
          </a:xfrm>
        </p:grpSpPr>
        <p:sp>
          <p:nvSpPr>
            <p:cNvPr id="8" name="Oval 3">
              <a:extLst>
                <a:ext uri="{FF2B5EF4-FFF2-40B4-BE49-F238E27FC236}">
                  <a16:creationId xmlns:a16="http://schemas.microsoft.com/office/drawing/2014/main" id="{CD0387A9-CFC3-FC4A-7599-888B8A9B72E0}"/>
                </a:ext>
              </a:extLst>
            </p:cNvPr>
            <p:cNvSpPr/>
            <p:nvPr/>
          </p:nvSpPr>
          <p:spPr>
            <a:xfrm>
              <a:off x="5768845" y="1131327"/>
              <a:ext cx="1505798" cy="150579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B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landersArtSerif-Regular"/>
                <a:ea typeface="+mn-ea"/>
                <a:cs typeface="+mn-cs"/>
              </a:endParaRPr>
            </a:p>
          </p:txBody>
        </p:sp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36B8D5DA-8B86-B2D8-E6FE-77F4EABC2679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221702" y="1348736"/>
              <a:ext cx="600081" cy="600081"/>
            </a:xfrm>
            <a:prstGeom prst="rect">
              <a:avLst/>
            </a:prstGeom>
          </p:spPr>
        </p:pic>
        <p:sp>
          <p:nvSpPr>
            <p:cNvPr id="10" name="main-info-over-GN">
              <a:extLst>
                <a:ext uri="{FF2B5EF4-FFF2-40B4-BE49-F238E27FC236}">
                  <a16:creationId xmlns:a16="http://schemas.microsoft.com/office/drawing/2014/main" id="{0467E228-8AD3-3ED5-9711-E750DF350693}"/>
                </a:ext>
              </a:extLst>
            </p:cNvPr>
            <p:cNvSpPr/>
            <p:nvPr/>
          </p:nvSpPr>
          <p:spPr>
            <a:xfrm>
              <a:off x="5094598" y="2031327"/>
              <a:ext cx="2752829" cy="133421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</a:ln>
            <a:effectLst>
              <a:outerShdw blurRad="63500" sx="102000" sy="102000" algn="ctr" rotWithShape="0">
                <a:schemeClr val="accent5">
                  <a:lumMod val="60000"/>
                  <a:lumOff val="40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51999" tIns="45720" rIns="91440" bIns="45720" rtlCol="0" anchor="ctr"/>
            <a:lstStyle/>
            <a:p>
              <a:pPr lvl="0" algn="ctr" hangingPunct="1">
                <a:defRPr/>
              </a:pPr>
              <a:r>
                <a:rPr lang="en-US" kern="1200" dirty="0" err="1">
                  <a:solidFill>
                    <a:srgbClr val="6B6B6B"/>
                  </a:solidFill>
                  <a:highlight>
                    <a:srgbClr val="FEE716"/>
                  </a:highlight>
                  <a:latin typeface="FlandersArtSerif-Regular"/>
                </a:rPr>
                <a:t>Politiek.Vlaanderen</a:t>
              </a:r>
              <a:r>
                <a:rPr lang="en-US" kern="1200" dirty="0">
                  <a:solidFill>
                    <a:srgbClr val="6B6B6B"/>
                  </a:solidFill>
                  <a:highlight>
                    <a:srgbClr val="FEE716"/>
                  </a:highlight>
                  <a:latin typeface="FlandersArtSerif-Regular"/>
                </a:rPr>
                <a:t> </a:t>
              </a:r>
              <a:r>
                <a:rPr lang="en-US" kern="1200" dirty="0">
                  <a:solidFill>
                    <a:srgbClr val="6B6B6B"/>
                  </a:solidFill>
                  <a:latin typeface="FlandersArtSerif-Regular"/>
                </a:rPr>
                <a:t>Is an open-source project created by a citizen who is working with LBLOD data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B6B6B"/>
                </a:solidFill>
                <a:effectLst/>
                <a:highlight>
                  <a:srgbClr val="FEE716"/>
                </a:highlight>
                <a:uLnTx/>
                <a:uFillTx/>
                <a:latin typeface="FlandersArtSerif-Regular"/>
                <a:ea typeface="+mn-ea"/>
                <a:cs typeface="+mn-cs"/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7BDBA964-9F09-7C6D-D7EC-01F68BB2CE25}"/>
              </a:ext>
            </a:extLst>
          </p:cNvPr>
          <p:cNvSpPr txBox="1"/>
          <p:nvPr/>
        </p:nvSpPr>
        <p:spPr>
          <a:xfrm>
            <a:off x="1169944" y="5575919"/>
            <a:ext cx="112562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2800" dirty="0">
                <a:hlinkClick r:id="rId4"/>
              </a:rPr>
              <a:t>DEMO</a:t>
            </a:r>
            <a:endParaRPr lang="nl-NL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BFF366C-CB19-0C26-F105-19098D6166E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71157" y="1761565"/>
            <a:ext cx="8620843" cy="4337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41537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B7BB3B-CC1F-E6D6-17A8-0E95AB56D5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id="{DB5C0998-DB48-8249-0A24-E8725C756CC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r>
              <a:rPr lang="nl-BE" dirty="0">
                <a:latin typeface="FlandersArtSans-Regular" panose="00000500000000000000" pitchFamily="2" charset="0"/>
              </a:rPr>
              <a:t>But wait there is mor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DE266B85-2AEA-C12A-0A1E-D73C4394ED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BE"/>
              <a:t>Voettekst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DCC20122-1E30-C134-EED5-0C89561A9E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EABE038-A425-4CC0-917A-1DC3ED725B2E}" type="slidenum">
              <a:rPr lang="nl-BE" smtClean="0"/>
              <a:pPr/>
              <a:t>8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068667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DC68E57-7A89-0F0C-A5F3-F5C92B834010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1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  <a14:imgEffect>
                      <a14:brightnessContrast bright="100000" contrast="-3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914464" y="-272955"/>
            <a:ext cx="6103166" cy="5868537"/>
          </a:xfrm>
          <a:prstGeom prst="rect">
            <a:avLst/>
          </a:prstGeom>
        </p:spPr>
      </p:pic>
      <p:sp>
        <p:nvSpPr>
          <p:cNvPr id="7" name="Tijdelijke aanduiding voor tekst 1">
            <a:extLst>
              <a:ext uri="{FF2B5EF4-FFF2-40B4-BE49-F238E27FC236}">
                <a16:creationId xmlns:a16="http://schemas.microsoft.com/office/drawing/2014/main" id="{4275DD52-771C-BC0C-B78E-DAA87559379C}"/>
              </a:ext>
            </a:extLst>
          </p:cNvPr>
          <p:cNvSpPr txBox="1">
            <a:spLocks/>
          </p:cNvSpPr>
          <p:nvPr/>
        </p:nvSpPr>
        <p:spPr>
          <a:xfrm>
            <a:off x="714749" y="1369187"/>
            <a:ext cx="9247757" cy="41141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nl-B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FlandersArtSans-Medium"/>
                <a:ea typeface="+mn-ea"/>
                <a:cs typeface="+mn-cs"/>
              </a:rPr>
              <a:t>D</a:t>
            </a: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Flanders Art Sans"/>
                <a:ea typeface="+mn-ea"/>
                <a:cs typeface="+mn-cs"/>
              </a:rPr>
              <a:t>ata driven </a:t>
            </a: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FlandersArtSans-Medium"/>
                <a:ea typeface="+mn-ea"/>
                <a:cs typeface="+mn-cs"/>
              </a:rPr>
              <a:t>E</a:t>
            </a: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Flanders Art Sans"/>
                <a:ea typeface="+mn-ea"/>
                <a:cs typeface="+mn-cs"/>
              </a:rPr>
              <a:t>xploration </a:t>
            </a:r>
            <a:br>
              <a:rPr lang="en-US" sz="3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Flanders Art Sans"/>
              </a:rPr>
            </a:b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Flanders Art Sans"/>
                <a:ea typeface="+mn-ea"/>
                <a:cs typeface="+mn-cs"/>
              </a:rPr>
              <a:t>in </a:t>
            </a: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FlandersArtSans-Medium"/>
                <a:ea typeface="+mn-ea"/>
                <a:cs typeface="+mn-cs"/>
              </a:rPr>
              <a:t>C</a:t>
            </a: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Flanders Art Sans"/>
                <a:ea typeface="+mn-ea"/>
                <a:cs typeface="+mn-cs"/>
              </a:rPr>
              <a:t>ontextual </a:t>
            </a: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FlandersArtSans-Medium"/>
                <a:ea typeface="+mn-ea"/>
                <a:cs typeface="+mn-cs"/>
              </a:rPr>
              <a:t>I</a:t>
            </a: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Flanders Art Sans"/>
                <a:ea typeface="+mn-ea"/>
                <a:cs typeface="+mn-cs"/>
              </a:rPr>
              <a:t>nformation on (local) </a:t>
            </a: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FlandersArtSans-Medium"/>
                <a:ea typeface="+mn-ea"/>
                <a:cs typeface="+mn-cs"/>
              </a:rPr>
              <a:t>D</a:t>
            </a: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Flanders Art Sans"/>
                <a:ea typeface="+mn-ea"/>
                <a:cs typeface="+mn-cs"/>
              </a:rPr>
              <a:t>ecision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E2841"/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0E2841"/>
              </a:solidFill>
              <a:effectLst/>
              <a:uLnTx/>
              <a:uFillTx/>
              <a:latin typeface="Flanders Art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lang="en-US" sz="2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Flanders Art Sans"/>
              </a:rPr>
            </a:b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Flanders Art Sans"/>
                <a:ea typeface="+mn-ea"/>
                <a:cs typeface="+mn-cs"/>
              </a:rPr>
              <a:t>How can sharing and (re)using local </a:t>
            </a:r>
            <a:r>
              <a:rPr kumimoji="0" lang="en-US" sz="2800" b="0" i="0" u="none" strike="noStrike" kern="1200" cap="none" spc="0" normalizeH="0" baseline="0" noProof="0" err="1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Flanders Art Sans"/>
                <a:ea typeface="+mn-ea"/>
                <a:cs typeface="+mn-cs"/>
              </a:rPr>
              <a:t>decisiondata</a:t>
            </a: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Flanders Art Sans"/>
                <a:ea typeface="+mn-ea"/>
                <a:cs typeface="+mn-cs"/>
              </a:rPr>
              <a:t> </a:t>
            </a:r>
            <a:br>
              <a:rPr lang="en-US" sz="2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Flanders Art Sans"/>
              </a:rPr>
            </a:b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Flanders Art Sans"/>
                <a:ea typeface="+mn-ea"/>
                <a:cs typeface="+mn-cs"/>
              </a:rPr>
              <a:t>make </a:t>
            </a:r>
            <a:r>
              <a:rPr lang="en-US" sz="2800">
                <a:solidFill>
                  <a:srgbClr val="0E2841"/>
                </a:solidFill>
                <a:latin typeface="Flanders Art Sans"/>
              </a:rPr>
              <a:t>life</a:t>
            </a: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Flanders Art Sans"/>
                <a:ea typeface="+mn-ea"/>
                <a:cs typeface="+mn-cs"/>
              </a:rPr>
              <a:t> easier for everyone?</a:t>
            </a:r>
            <a:endParaRPr lang="en-US" sz="2800" b="0" i="0" u="none" strike="noStrike" kern="1200" cap="none" spc="0" normalizeH="0" baseline="0" noProof="0">
              <a:ln>
                <a:noFill/>
              </a:ln>
              <a:solidFill>
                <a:srgbClr val="0E2841"/>
              </a:solidFill>
              <a:effectLst/>
              <a:uLnTx/>
              <a:uFillTx/>
              <a:latin typeface="Flanders Art Sans"/>
            </a:endParaRP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71CD1BDC-0BAA-B455-3B5F-546ACC1AA0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3" y="288950"/>
            <a:ext cx="9753719" cy="1080000"/>
          </a:xfrm>
        </p:spPr>
        <p:txBody>
          <a:bodyPr/>
          <a:lstStyle/>
          <a:p>
            <a:r>
              <a:rPr lang="en-US" err="1">
                <a:solidFill>
                  <a:schemeClr val="tx2"/>
                </a:solidFill>
                <a:latin typeface="FlandersArtSans-Medium"/>
              </a:rPr>
              <a:t>DECIDe</a:t>
            </a:r>
          </a:p>
        </p:txBody>
      </p:sp>
    </p:spTree>
    <p:extLst>
      <p:ext uri="{BB962C8B-B14F-4D97-AF65-F5344CB8AC3E}">
        <p14:creationId xmlns:p14="http://schemas.microsoft.com/office/powerpoint/2010/main" val="4637380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BB Thema">
  <a:themeElements>
    <a:clrScheme name="VlaamseOverheid_ABB">
      <a:dk1>
        <a:sysClr val="windowText" lastClr="000000"/>
      </a:dk1>
      <a:lt1>
        <a:sysClr val="window" lastClr="FFFFFF"/>
      </a:lt1>
      <a:dk2>
        <a:srgbClr val="3D3D3D"/>
      </a:dk2>
      <a:lt2>
        <a:srgbClr val="F5F5ED"/>
      </a:lt2>
      <a:accent1>
        <a:srgbClr val="FFEB00"/>
      </a:accent1>
      <a:accent2>
        <a:srgbClr val="3D3D3D"/>
      </a:accent2>
      <a:accent3>
        <a:srgbClr val="F5F5ED"/>
      </a:accent3>
      <a:accent4>
        <a:srgbClr val="FFEB00"/>
      </a:accent4>
      <a:accent5>
        <a:srgbClr val="3D3D3D"/>
      </a:accent5>
      <a:accent6>
        <a:srgbClr val="F5F5ED"/>
      </a:accent6>
      <a:hlink>
        <a:srgbClr val="3D3D3D"/>
      </a:hlink>
      <a:folHlink>
        <a:srgbClr val="3D3D3D"/>
      </a:folHlink>
    </a:clrScheme>
    <a:fontScheme name="VlaamseOverheid_ABB">
      <a:majorFont>
        <a:latin typeface="FlandersArtSans-Medium"/>
        <a:ea typeface=""/>
        <a:cs typeface=""/>
      </a:majorFont>
      <a:minorFont>
        <a:latin typeface="FlandersArtSans-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BB_Profielschets_Gemeente [sjabloon].potx" id="{0D3B9805-F01A-4869-8E54-4495BC8817CC}" vid="{F80ACF5A-3652-4398-8905-A8D506291FD5}"/>
    </a:ext>
  </a:extLst>
</a:theme>
</file>

<file path=ppt/theme/theme2.xml><?xml version="1.0" encoding="utf-8"?>
<a:theme xmlns:a="http://schemas.openxmlformats.org/drawingml/2006/main" name="Digitaal Vlaanderen 2022 - Calibri - Algemeen">
  <a:themeElements>
    <a:clrScheme name="Digitaal Vlaanderen">
      <a:dk1>
        <a:srgbClr val="3C3D3C"/>
      </a:dk1>
      <a:lt1>
        <a:sysClr val="window" lastClr="FFFFFF"/>
      </a:lt1>
      <a:dk2>
        <a:srgbClr val="6D6E6D"/>
      </a:dk2>
      <a:lt2>
        <a:srgbClr val="F6F5F3"/>
      </a:lt2>
      <a:accent1>
        <a:srgbClr val="FFEB00"/>
      </a:accent1>
      <a:accent2>
        <a:srgbClr val="9D9E9D"/>
      </a:accent2>
      <a:accent3>
        <a:srgbClr val="FFF57F"/>
      </a:accent3>
      <a:accent4>
        <a:srgbClr val="2B979D"/>
      </a:accent4>
      <a:accent5>
        <a:srgbClr val="CECECE"/>
      </a:accent5>
      <a:accent6>
        <a:srgbClr val="FFFABF"/>
      </a:accent6>
      <a:hlink>
        <a:srgbClr val="3C96BE"/>
      </a:hlink>
      <a:folHlink>
        <a:srgbClr val="AA78AA"/>
      </a:folHlink>
    </a:clrScheme>
    <a:fontScheme name="Aangepast 1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b="1" dirty="0" smtClean="0">
            <a:solidFill>
              <a:schemeClr val="tx1"/>
            </a:solidFill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41275" cap="rnd">
          <a:solidFill>
            <a:schemeClr val="tx2"/>
          </a:solidFill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20315_SDG_interne stuurgroep" id="{5CF4D630-0E64-4B71-A62B-8A083173D485}" vid="{D0CF1CE0-CAE6-4EA2-8777-6FABBBB5C19D}"/>
    </a:ext>
  </a:extLst>
</a:theme>
</file>

<file path=ppt/theme/theme3.xml><?xml version="1.0" encoding="utf-8"?>
<a:theme xmlns:a="http://schemas.openxmlformats.org/drawingml/2006/main" name="Aangepast ontwerp">
  <a:themeElements>
    <a:clrScheme name="Vlaamse overheid presentatie">
      <a:dk1>
        <a:srgbClr val="373636"/>
      </a:dk1>
      <a:lt1>
        <a:sysClr val="window" lastClr="FFFFFF"/>
      </a:lt1>
      <a:dk2>
        <a:srgbClr val="6B6B6B"/>
      </a:dk2>
      <a:lt2>
        <a:srgbClr val="F6F5F3"/>
      </a:lt2>
      <a:accent1>
        <a:srgbClr val="FFF200"/>
      </a:accent1>
      <a:accent2>
        <a:srgbClr val="373636"/>
      </a:accent2>
      <a:accent3>
        <a:srgbClr val="E5DA04"/>
      </a:accent3>
      <a:accent4>
        <a:srgbClr val="6B6B6B"/>
      </a:accent4>
      <a:accent5>
        <a:srgbClr val="D5D5D5"/>
      </a:accent5>
      <a:accent6>
        <a:srgbClr val="989898"/>
      </a:accent6>
      <a:hlink>
        <a:srgbClr val="3C96BE"/>
      </a:hlink>
      <a:folHlink>
        <a:srgbClr val="AA78AA"/>
      </a:folHlink>
    </a:clrScheme>
    <a:fontScheme name="Vlaamse overheid presentatie">
      <a:majorFont>
        <a:latin typeface="FlandersArtSans-Medium"/>
        <a:ea typeface=""/>
        <a:cs typeface=""/>
      </a:majorFont>
      <a:minorFont>
        <a:latin typeface="FlandersArtSerif-Regular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BB ICT 20181115" id="{F2EA0C48-2375-4977-92A8-7F0842242D14}" vid="{4D33D016-7746-46B4-9ABD-302B3FF0839F}"/>
    </a:ext>
  </a:extLst>
</a:theme>
</file>

<file path=ppt/theme/theme4.xml><?xml version="1.0" encoding="utf-8"?>
<a:theme xmlns:a="http://schemas.openxmlformats.org/drawingml/2006/main" name="1_Presentatie_verbeelding werkt - kopie">
  <a:themeElements>
    <a:clrScheme name="Vlaamse overheid presentatie">
      <a:dk1>
        <a:srgbClr val="373636"/>
      </a:dk1>
      <a:lt1>
        <a:sysClr val="window" lastClr="FFFFFF"/>
      </a:lt1>
      <a:dk2>
        <a:srgbClr val="6B6B6B"/>
      </a:dk2>
      <a:lt2>
        <a:srgbClr val="F6F5F3"/>
      </a:lt2>
      <a:accent1>
        <a:srgbClr val="FFF200"/>
      </a:accent1>
      <a:accent2>
        <a:srgbClr val="373636"/>
      </a:accent2>
      <a:accent3>
        <a:srgbClr val="E5DA04"/>
      </a:accent3>
      <a:accent4>
        <a:srgbClr val="6B6B6B"/>
      </a:accent4>
      <a:accent5>
        <a:srgbClr val="D5D5D5"/>
      </a:accent5>
      <a:accent6>
        <a:srgbClr val="989898"/>
      </a:accent6>
      <a:hlink>
        <a:srgbClr val="3C96BE"/>
      </a:hlink>
      <a:folHlink>
        <a:srgbClr val="AA78AA"/>
      </a:folHlink>
    </a:clrScheme>
    <a:fontScheme name="Vlaamse overheid presentatie">
      <a:majorFont>
        <a:latin typeface="FlandersArtSans-Medium"/>
        <a:ea typeface=""/>
        <a:cs typeface=""/>
      </a:majorFont>
      <a:minorFont>
        <a:latin typeface="FlandersArtSerif-Regular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BB ICT 20181115" id="{F2EA0C48-2375-4977-92A8-7F0842242D14}" vid="{4B535D8B-7B22-4904-B64A-075635C14902}"/>
    </a:ext>
  </a:extLst>
</a:theme>
</file>

<file path=ppt/theme/theme5.xml><?xml version="1.0" encoding="utf-8"?>
<a:theme xmlns:a="http://schemas.openxmlformats.org/drawingml/2006/main" name="1_Digitaal Vlaanderen 2022 - Calibri - Algemeen">
  <a:themeElements>
    <a:clrScheme name="Digitaal Vlaanderen">
      <a:dk1>
        <a:srgbClr val="3C3D3C"/>
      </a:dk1>
      <a:lt1>
        <a:sysClr val="window" lastClr="FFFFFF"/>
      </a:lt1>
      <a:dk2>
        <a:srgbClr val="6D6E6D"/>
      </a:dk2>
      <a:lt2>
        <a:srgbClr val="F6F5F3"/>
      </a:lt2>
      <a:accent1>
        <a:srgbClr val="FFEB00"/>
      </a:accent1>
      <a:accent2>
        <a:srgbClr val="9D9E9D"/>
      </a:accent2>
      <a:accent3>
        <a:srgbClr val="FFF57F"/>
      </a:accent3>
      <a:accent4>
        <a:srgbClr val="2B979D"/>
      </a:accent4>
      <a:accent5>
        <a:srgbClr val="CECECE"/>
      </a:accent5>
      <a:accent6>
        <a:srgbClr val="FFFABF"/>
      </a:accent6>
      <a:hlink>
        <a:srgbClr val="3C96BE"/>
      </a:hlink>
      <a:folHlink>
        <a:srgbClr val="AA78AA"/>
      </a:folHlink>
    </a:clrScheme>
    <a:fontScheme name="Aangepast 1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b="1" dirty="0" smtClean="0">
            <a:solidFill>
              <a:schemeClr val="tx1"/>
            </a:solidFill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41275" cap="rnd">
          <a:solidFill>
            <a:schemeClr val="tx2"/>
          </a:solidFill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e_DigitaalVlaanderen_Calibri.potx" id="{D7EDAF76-ED7A-4B13-B7E3-2436F150C718}" vid="{DBB3FD68-A494-4B88-A69F-FE654B2B7A9E}"/>
    </a:ext>
  </a:extLst>
</a:theme>
</file>

<file path=ppt/theme/theme6.xml><?xml version="1.0" encoding="utf-8"?>
<a:theme xmlns:a="http://schemas.openxmlformats.org/drawingml/2006/main" name="3_Kantoorthema">
  <a:themeElements>
    <a:clrScheme name="VlaamseOverheid_ABB">
      <a:dk1>
        <a:sysClr val="windowText" lastClr="000000"/>
      </a:dk1>
      <a:lt1>
        <a:sysClr val="window" lastClr="FFFFFF"/>
      </a:lt1>
      <a:dk2>
        <a:srgbClr val="3D3D3D"/>
      </a:dk2>
      <a:lt2>
        <a:srgbClr val="F5F5ED"/>
      </a:lt2>
      <a:accent1>
        <a:srgbClr val="FFEB00"/>
      </a:accent1>
      <a:accent2>
        <a:srgbClr val="3D3D3D"/>
      </a:accent2>
      <a:accent3>
        <a:srgbClr val="F5F5ED"/>
      </a:accent3>
      <a:accent4>
        <a:srgbClr val="FFEB00"/>
      </a:accent4>
      <a:accent5>
        <a:srgbClr val="3D3D3D"/>
      </a:accent5>
      <a:accent6>
        <a:srgbClr val="F5F5ED"/>
      </a:accent6>
      <a:hlink>
        <a:srgbClr val="3D3D3D"/>
      </a:hlink>
      <a:folHlink>
        <a:srgbClr val="3D3D3D"/>
      </a:folHlink>
    </a:clrScheme>
    <a:fontScheme name="VlaamseOverheid_ABB">
      <a:majorFont>
        <a:latin typeface="FlandersArtSans-Medium"/>
        <a:ea typeface=""/>
        <a:cs typeface=""/>
      </a:majorFont>
      <a:minorFont>
        <a:latin typeface="FlandersArtSans-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Aangepast ontwerp">
  <a:themeElements>
    <a:clrScheme name="Aangepast ontwerp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FFF200"/>
      </a:accent1>
      <a:accent2>
        <a:srgbClr val="373636"/>
      </a:accent2>
      <a:accent3>
        <a:srgbClr val="E5DA04"/>
      </a:accent3>
      <a:accent4>
        <a:srgbClr val="6B6B6B"/>
      </a:accent4>
      <a:accent5>
        <a:srgbClr val="D5D5D5"/>
      </a:accent5>
      <a:accent6>
        <a:srgbClr val="989898"/>
      </a:accent6>
      <a:hlink>
        <a:srgbClr val="0000FF"/>
      </a:hlink>
      <a:folHlink>
        <a:srgbClr val="FF00FF"/>
      </a:folHlink>
    </a:clrScheme>
    <a:fontScheme name="Aangepast ontwerp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Aangepast ontwerp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chemeClr val="accent2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chemeClr val="accent2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Override1.xml><?xml version="1.0" encoding="utf-8"?>
<a:themeOverride xmlns:a="http://schemas.openxmlformats.org/drawingml/2006/main">
  <a:clrScheme name="Digitaal Vlaanderen">
    <a:dk1>
      <a:srgbClr val="3C3D3C"/>
    </a:dk1>
    <a:lt1>
      <a:sysClr val="window" lastClr="FFFFFF"/>
    </a:lt1>
    <a:dk2>
      <a:srgbClr val="6D6E6D"/>
    </a:dk2>
    <a:lt2>
      <a:srgbClr val="F6F5F3"/>
    </a:lt2>
    <a:accent1>
      <a:srgbClr val="FFEB00"/>
    </a:accent1>
    <a:accent2>
      <a:srgbClr val="9D9E9D"/>
    </a:accent2>
    <a:accent3>
      <a:srgbClr val="FFF57F"/>
    </a:accent3>
    <a:accent4>
      <a:srgbClr val="2B979D"/>
    </a:accent4>
    <a:accent5>
      <a:srgbClr val="CECECE"/>
    </a:accent5>
    <a:accent6>
      <a:srgbClr val="FFFABF"/>
    </a:accent6>
    <a:hlink>
      <a:srgbClr val="3C96BE"/>
    </a:hlink>
    <a:folHlink>
      <a:srgbClr val="AA78AA"/>
    </a:folHlink>
  </a:clrScheme>
</a:themeOverride>
</file>

<file path=ppt/theme/themeOverride2.xml><?xml version="1.0" encoding="utf-8"?>
<a:themeOverride xmlns:a="http://schemas.openxmlformats.org/drawingml/2006/main">
  <a:clrScheme name="Digitaal Vlaanderen">
    <a:dk1>
      <a:srgbClr val="3C3D3C"/>
    </a:dk1>
    <a:lt1>
      <a:sysClr val="window" lastClr="FFFFFF"/>
    </a:lt1>
    <a:dk2>
      <a:srgbClr val="6D6E6D"/>
    </a:dk2>
    <a:lt2>
      <a:srgbClr val="F6F5F3"/>
    </a:lt2>
    <a:accent1>
      <a:srgbClr val="FFEB00"/>
    </a:accent1>
    <a:accent2>
      <a:srgbClr val="9D9E9D"/>
    </a:accent2>
    <a:accent3>
      <a:srgbClr val="FFF57F"/>
    </a:accent3>
    <a:accent4>
      <a:srgbClr val="2B979D"/>
    </a:accent4>
    <a:accent5>
      <a:srgbClr val="CECECE"/>
    </a:accent5>
    <a:accent6>
      <a:srgbClr val="FFFABF"/>
    </a:accent6>
    <a:hlink>
      <a:srgbClr val="3C96BE"/>
    </a:hlink>
    <a:folHlink>
      <a:srgbClr val="AA78AA"/>
    </a:folHlink>
  </a:clrScheme>
</a:themeOverride>
</file>

<file path=ppt/theme/themeOverride3.xml><?xml version="1.0" encoding="utf-8"?>
<a:themeOverride xmlns:a="http://schemas.openxmlformats.org/drawingml/2006/main">
  <a:clrScheme name="Digitaal Vlaanderen">
    <a:dk1>
      <a:srgbClr val="3C3D3C"/>
    </a:dk1>
    <a:lt1>
      <a:sysClr val="window" lastClr="FFFFFF"/>
    </a:lt1>
    <a:dk2>
      <a:srgbClr val="6D6E6D"/>
    </a:dk2>
    <a:lt2>
      <a:srgbClr val="F6F5F3"/>
    </a:lt2>
    <a:accent1>
      <a:srgbClr val="FFEB00"/>
    </a:accent1>
    <a:accent2>
      <a:srgbClr val="9D9E9D"/>
    </a:accent2>
    <a:accent3>
      <a:srgbClr val="FFF57F"/>
    </a:accent3>
    <a:accent4>
      <a:srgbClr val="2B979D"/>
    </a:accent4>
    <a:accent5>
      <a:srgbClr val="CECECE"/>
    </a:accent5>
    <a:accent6>
      <a:srgbClr val="FFFABF"/>
    </a:accent6>
    <a:hlink>
      <a:srgbClr val="3C96BE"/>
    </a:hlink>
    <a:folHlink>
      <a:srgbClr val="AA78AA"/>
    </a:folHlink>
  </a:clrScheme>
</a:themeOverride>
</file>

<file path=ppt/theme/themeOverride4.xml><?xml version="1.0" encoding="utf-8"?>
<a:themeOverride xmlns:a="http://schemas.openxmlformats.org/drawingml/2006/main">
  <a:clrScheme name="Digitaal Vlaanderen">
    <a:dk1>
      <a:srgbClr val="3C3D3C"/>
    </a:dk1>
    <a:lt1>
      <a:sysClr val="window" lastClr="FFFFFF"/>
    </a:lt1>
    <a:dk2>
      <a:srgbClr val="6D6E6D"/>
    </a:dk2>
    <a:lt2>
      <a:srgbClr val="F6F5F3"/>
    </a:lt2>
    <a:accent1>
      <a:srgbClr val="FFEB00"/>
    </a:accent1>
    <a:accent2>
      <a:srgbClr val="9D9E9D"/>
    </a:accent2>
    <a:accent3>
      <a:srgbClr val="FFF57F"/>
    </a:accent3>
    <a:accent4>
      <a:srgbClr val="2B979D"/>
    </a:accent4>
    <a:accent5>
      <a:srgbClr val="CECECE"/>
    </a:accent5>
    <a:accent6>
      <a:srgbClr val="FFFABF"/>
    </a:accent6>
    <a:hlink>
      <a:srgbClr val="3C96BE"/>
    </a:hlink>
    <a:folHlink>
      <a:srgbClr val="AA78AA"/>
    </a:folHlink>
  </a:clrScheme>
</a:themeOverride>
</file>

<file path=ppt/theme/themeOverride5.xml><?xml version="1.0" encoding="utf-8"?>
<a:themeOverride xmlns:a="http://schemas.openxmlformats.org/drawingml/2006/main">
  <a:clrScheme name="Digitaal Vlaanderen">
    <a:dk1>
      <a:srgbClr val="3C3D3C"/>
    </a:dk1>
    <a:lt1>
      <a:sysClr val="window" lastClr="FFFFFF"/>
    </a:lt1>
    <a:dk2>
      <a:srgbClr val="6D6E6D"/>
    </a:dk2>
    <a:lt2>
      <a:srgbClr val="F6F5F3"/>
    </a:lt2>
    <a:accent1>
      <a:srgbClr val="FFEB00"/>
    </a:accent1>
    <a:accent2>
      <a:srgbClr val="9D9E9D"/>
    </a:accent2>
    <a:accent3>
      <a:srgbClr val="FFF57F"/>
    </a:accent3>
    <a:accent4>
      <a:srgbClr val="2B979D"/>
    </a:accent4>
    <a:accent5>
      <a:srgbClr val="CECECE"/>
    </a:accent5>
    <a:accent6>
      <a:srgbClr val="FFFABF"/>
    </a:accent6>
    <a:hlink>
      <a:srgbClr val="3C96BE"/>
    </a:hlink>
    <a:folHlink>
      <a:srgbClr val="AA78AA"/>
    </a:folHlink>
  </a:clrScheme>
</a:themeOverride>
</file>

<file path=ppt/theme/themeOverride6.xml><?xml version="1.0" encoding="utf-8"?>
<a:themeOverride xmlns:a="http://schemas.openxmlformats.org/drawingml/2006/main">
  <a:clrScheme name="Digitaal Vlaanderen">
    <a:dk1>
      <a:srgbClr val="3C3D3C"/>
    </a:dk1>
    <a:lt1>
      <a:sysClr val="window" lastClr="FFFFFF"/>
    </a:lt1>
    <a:dk2>
      <a:srgbClr val="6D6E6D"/>
    </a:dk2>
    <a:lt2>
      <a:srgbClr val="F6F5F3"/>
    </a:lt2>
    <a:accent1>
      <a:srgbClr val="FFEB00"/>
    </a:accent1>
    <a:accent2>
      <a:srgbClr val="9D9E9D"/>
    </a:accent2>
    <a:accent3>
      <a:srgbClr val="FFF57F"/>
    </a:accent3>
    <a:accent4>
      <a:srgbClr val="2B979D"/>
    </a:accent4>
    <a:accent5>
      <a:srgbClr val="CECECE"/>
    </a:accent5>
    <a:accent6>
      <a:srgbClr val="FFFABF"/>
    </a:accent6>
    <a:hlink>
      <a:srgbClr val="3C96BE"/>
    </a:hlink>
    <a:folHlink>
      <a:srgbClr val="AA78AA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2F1A8584CCBD4A8D2CA2088BFE0FDD" ma:contentTypeVersion="14" ma:contentTypeDescription="Een nieuw document maken." ma:contentTypeScope="" ma:versionID="f7990e1e79ff64965ed6f3540d71cd16">
  <xsd:schema xmlns:xsd="http://www.w3.org/2001/XMLSchema" xmlns:xs="http://www.w3.org/2001/XMLSchema" xmlns:p="http://schemas.microsoft.com/office/2006/metadata/properties" xmlns:ns2="ef87f707-ccc8-4034-9c74-b7f273c24a38" xmlns:ns3="a564bd4e-169a-48bc-8678-515157f40286" targetNamespace="http://schemas.microsoft.com/office/2006/metadata/properties" ma:root="true" ma:fieldsID="04d0c02bd7774429d04cba053ec9b0fd" ns2:_="" ns3:_="">
    <xsd:import namespace="ef87f707-ccc8-4034-9c74-b7f273c24a38"/>
    <xsd:import namespace="a564bd4e-169a-48bc-8678-515157f4028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Note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f87f707-ccc8-4034-9c74-b7f273c24a3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Note" ma:index="12" nillable="true" ma:displayName="Note" ma:format="Dropdown" ma:internalName="Note">
      <xsd:simpleType>
        <xsd:restriction base="dms:Text">
          <xsd:maxLength value="255"/>
        </xsd:restriction>
      </xsd:simple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7" nillable="true" ma:taxonomy="true" ma:internalName="lcf76f155ced4ddcb4097134ff3c332f" ma:taxonomyFieldName="MediaServiceImageTags" ma:displayName="Afbeeldingtags" ma:readOnly="false" ma:fieldId="{5cf76f15-5ced-4ddc-b409-7134ff3c332f}" ma:taxonomyMulti="true" ma:sspId="49ca8161-7180-459b-a0ef-1a71cf6ffea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64bd4e-169a-48bc-8678-515157f40286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630f8acc-3fe6-451e-bb25-f967f362260e}" ma:internalName="TaxCatchAll" ma:showField="CatchAllData" ma:web="a564bd4e-169a-48bc-8678-515157f4028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Note xmlns="ef87f707-ccc8-4034-9c74-b7f273c24a38" xsi:nil="true"/>
    <TaxCatchAll xmlns="a564bd4e-169a-48bc-8678-515157f40286" xsi:nil="true"/>
    <lcf76f155ced4ddcb4097134ff3c332f xmlns="ef87f707-ccc8-4034-9c74-b7f273c24a38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1DF1F168-ADA3-44D5-97AB-CA134CE4AAF9}">
  <ds:schemaRefs>
    <ds:schemaRef ds:uri="a564bd4e-169a-48bc-8678-515157f40286"/>
    <ds:schemaRef ds:uri="ef87f707-ccc8-4034-9c74-b7f273c24a3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5BCF3411-3A3C-41D7-8FF1-E51D1BBD662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635AF4E-DDAC-4A59-90AF-1CD69E3BF39C}">
  <ds:schemaRefs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purl.org/dc/elements/1.1/"/>
    <ds:schemaRef ds:uri="ef87f707-ccc8-4034-9c74-b7f273c24a38"/>
    <ds:schemaRef ds:uri="http://schemas.microsoft.com/office/2006/metadata/properties"/>
    <ds:schemaRef ds:uri="http://purl.org/dc/dcmitype/"/>
    <ds:schemaRef ds:uri="a564bd4e-169a-48bc-8678-515157f40286"/>
    <ds:schemaRef ds:uri="http://schemas.openxmlformats.org/package/2006/metadata/core-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0c0338a6-9561-4ee8-b8d6-4e89cbd520a0}" enabled="0" method="" siteId="{0c0338a6-9561-4ee8-b8d6-4e89cbd520a0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496</TotalTime>
  <Words>392</Words>
  <Application>Microsoft Office PowerPoint</Application>
  <PresentationFormat>Breedbeeld</PresentationFormat>
  <Paragraphs>90</Paragraphs>
  <Slides>23</Slides>
  <Notes>10</Notes>
  <HiddenSlides>0</HiddenSlides>
  <MMClips>0</MMClips>
  <ScaleCrop>false</ScaleCrop>
  <HeadingPairs>
    <vt:vector size="4" baseType="variant">
      <vt:variant>
        <vt:lpstr>Thema</vt:lpstr>
      </vt:variant>
      <vt:variant>
        <vt:i4>6</vt:i4>
      </vt:variant>
      <vt:variant>
        <vt:lpstr>Diatitels</vt:lpstr>
      </vt:variant>
      <vt:variant>
        <vt:i4>23</vt:i4>
      </vt:variant>
    </vt:vector>
  </HeadingPairs>
  <TitlesOfParts>
    <vt:vector size="29" baseType="lpstr">
      <vt:lpstr>ABB Thema</vt:lpstr>
      <vt:lpstr>Digitaal Vlaanderen 2022 - Calibri - Algemeen</vt:lpstr>
      <vt:lpstr>Aangepast ontwerp</vt:lpstr>
      <vt:lpstr>1_Presentatie_verbeelding werkt - kopie</vt:lpstr>
      <vt:lpstr>1_Digitaal Vlaanderen 2022 - Calibri - Algemeen</vt:lpstr>
      <vt:lpstr>3_Kantoorthema</vt:lpstr>
      <vt:lpstr>LBLOD</vt:lpstr>
      <vt:lpstr>300 Local Authorities —  A Wealth of Information in Decision Making</vt:lpstr>
      <vt:lpstr>Relevant to Governments</vt:lpstr>
      <vt:lpstr>PowerPoint-presentatie</vt:lpstr>
      <vt:lpstr>PowerPoint-presentatie</vt:lpstr>
      <vt:lpstr>Lokaal beslist</vt:lpstr>
      <vt:lpstr>Re-use by citizens</vt:lpstr>
      <vt:lpstr>PowerPoint-presentatie</vt:lpstr>
      <vt:lpstr>DECIDe</vt:lpstr>
      <vt:lpstr>Partners</vt:lpstr>
      <vt:lpstr>4 usecases within the project</vt:lpstr>
      <vt:lpstr>PowerPoint-presentatie</vt:lpstr>
      <vt:lpstr>Conversion &amp; integration pipelines for LD&amp;L to ELI</vt:lpstr>
      <vt:lpstr>PowerPoint-presentatie</vt:lpstr>
      <vt:lpstr>PowerPoint-presentatie</vt:lpstr>
      <vt:lpstr>Dashboard Policy Impact Report</vt:lpstr>
      <vt:lpstr>PowerPoint-presentatie</vt:lpstr>
      <vt:lpstr>Mapping LD&amp;L on restricted mobility zones to geo-locations for city portals</vt:lpstr>
      <vt:lpstr>PowerPoint-presentatie</vt:lpstr>
      <vt:lpstr>Voorbeelden</vt:lpstr>
      <vt:lpstr>PowerPoint-presentatie</vt:lpstr>
      <vt:lpstr>Human validation of AI results </vt:lpstr>
      <vt:lpstr>PowerPoint-presentati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entral Planning Day</dc:title>
  <cp:lastModifiedBy>Zwaenepoel Daan</cp:lastModifiedBy>
  <cp:revision>5</cp:revision>
  <dcterms:modified xsi:type="dcterms:W3CDTF">2026-04-24T14:18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2F1A8584CCBD4A8D2CA2088BFE0FDD</vt:lpwstr>
  </property>
  <property fmtid="{D5CDD505-2E9C-101B-9397-08002B2CF9AE}" pid="3" name="MediaServiceImageTags">
    <vt:lpwstr/>
  </property>
</Properties>
</file>